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14" r:id="rId4"/>
  </p:sldMasterIdLst>
  <p:notesMasterIdLst>
    <p:notesMasterId r:id="rId15"/>
  </p:notesMasterIdLst>
  <p:handoutMasterIdLst>
    <p:handoutMasterId r:id="rId16"/>
  </p:handoutMasterIdLst>
  <p:sldIdLst>
    <p:sldId id="14956" r:id="rId5"/>
    <p:sldId id="14967" r:id="rId6"/>
    <p:sldId id="261" r:id="rId7"/>
    <p:sldId id="266" r:id="rId8"/>
    <p:sldId id="2145706502" r:id="rId9"/>
    <p:sldId id="2145706522" r:id="rId10"/>
    <p:sldId id="2145706521" r:id="rId11"/>
    <p:sldId id="2145706523" r:id="rId12"/>
    <p:sldId id="299" r:id="rId13"/>
    <p:sldId id="286" r:id="rId14"/>
  </p:sldIdLst>
  <p:sldSz cx="12192000" cy="6858000"/>
  <p:notesSz cx="6858000" cy="9144000"/>
  <p:custDataLst>
    <p:tags r:id="rId17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4272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ia Camila Prieto" initials="MCP" lastIdx="8" clrIdx="0">
    <p:extLst>
      <p:ext uri="{19B8F6BF-5375-455C-9EA6-DF929625EA0E}">
        <p15:presenceInfo xmlns:p15="http://schemas.microsoft.com/office/powerpoint/2012/main" userId="Maria Camila Prieto" providerId="None"/>
      </p:ext>
    </p:extLst>
  </p:cmAuthor>
  <p:cmAuthor id="2" name="Carmen del Busto" initials="CdB" lastIdx="6" clrIdx="1">
    <p:extLst>
      <p:ext uri="{19B8F6BF-5375-455C-9EA6-DF929625EA0E}">
        <p15:presenceInfo xmlns:p15="http://schemas.microsoft.com/office/powerpoint/2012/main" userId="S::Carmen.delBusto@cwc.com::cb6fa5a6-0b90-467f-9c95-a8a6b72356df" providerId="AD"/>
      </p:ext>
    </p:extLst>
  </p:cmAuthor>
  <p:cmAuthor id="3" name="Gabriel Forero" initials="GF" lastIdx="29" clrIdx="2">
    <p:extLst>
      <p:ext uri="{19B8F6BF-5375-455C-9EA6-DF929625EA0E}">
        <p15:presenceInfo xmlns:p15="http://schemas.microsoft.com/office/powerpoint/2012/main" userId="S::Gabriel.Forero@cwc.com::553e122a-07df-4db2-9d2a-72ee0d738c2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75BE6"/>
    <a:srgbClr val="351979"/>
    <a:srgbClr val="F96331"/>
    <a:srgbClr val="FFFFFF"/>
    <a:srgbClr val="362862"/>
    <a:srgbClr val="333333"/>
    <a:srgbClr val="D1B19E"/>
    <a:srgbClr val="E3E3E3"/>
    <a:srgbClr val="BAA2DF"/>
    <a:srgbClr val="922B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3A7D253-72B6-4882-B53A-F2AC287A3446}" v="34" dt="2023-11-13T00:59:58.16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6" d="100"/>
          <a:sy n="106" d="100"/>
        </p:scale>
        <p:origin x="756" y="96"/>
      </p:cViewPr>
      <p:guideLst>
        <p:guide pos="4272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23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mon Muniz" userId="3ec5e25f-4661-493c-bb49-225568c52e5e" providerId="ADAL" clId="{E3A7D253-72B6-4882-B53A-F2AC287A3446}"/>
    <pc:docChg chg="custSel addSld delSld modSld sldOrd">
      <pc:chgData name="Ramon Muniz" userId="3ec5e25f-4661-493c-bb49-225568c52e5e" providerId="ADAL" clId="{E3A7D253-72B6-4882-B53A-F2AC287A3446}" dt="2023-11-13T01:00:57.773" v="287" actId="1076"/>
      <pc:docMkLst>
        <pc:docMk/>
      </pc:docMkLst>
      <pc:sldChg chg="ord">
        <pc:chgData name="Ramon Muniz" userId="3ec5e25f-4661-493c-bb49-225568c52e5e" providerId="ADAL" clId="{E3A7D253-72B6-4882-B53A-F2AC287A3446}" dt="2023-11-13T00:19:54.636" v="272"/>
        <pc:sldMkLst>
          <pc:docMk/>
          <pc:sldMk cId="0" sldId="261"/>
        </pc:sldMkLst>
      </pc:sldChg>
      <pc:sldChg chg="del">
        <pc:chgData name="Ramon Muniz" userId="3ec5e25f-4661-493c-bb49-225568c52e5e" providerId="ADAL" clId="{E3A7D253-72B6-4882-B53A-F2AC287A3446}" dt="2023-11-13T00:04:57.834" v="263" actId="47"/>
        <pc:sldMkLst>
          <pc:docMk/>
          <pc:sldMk cId="0" sldId="2145706499"/>
        </pc:sldMkLst>
      </pc:sldChg>
      <pc:sldChg chg="del">
        <pc:chgData name="Ramon Muniz" userId="3ec5e25f-4661-493c-bb49-225568c52e5e" providerId="ADAL" clId="{E3A7D253-72B6-4882-B53A-F2AC287A3446}" dt="2023-11-13T00:04:43.270" v="261" actId="47"/>
        <pc:sldMkLst>
          <pc:docMk/>
          <pc:sldMk cId="2766402730" sldId="2145706501"/>
        </pc:sldMkLst>
      </pc:sldChg>
      <pc:sldChg chg="addSp delSp modSp mod">
        <pc:chgData name="Ramon Muniz" userId="3ec5e25f-4661-493c-bb49-225568c52e5e" providerId="ADAL" clId="{E3A7D253-72B6-4882-B53A-F2AC287A3446}" dt="2023-11-12T23:52:24.019" v="180" actId="1076"/>
        <pc:sldMkLst>
          <pc:docMk/>
          <pc:sldMk cId="1856534358" sldId="2145706502"/>
        </pc:sldMkLst>
        <pc:spChg chg="del">
          <ac:chgData name="Ramon Muniz" userId="3ec5e25f-4661-493c-bb49-225568c52e5e" providerId="ADAL" clId="{E3A7D253-72B6-4882-B53A-F2AC287A3446}" dt="2023-11-12T23:46:39.101" v="173" actId="478"/>
          <ac:spMkLst>
            <pc:docMk/>
            <pc:sldMk cId="1856534358" sldId="2145706502"/>
            <ac:spMk id="7" creationId="{00000000-0000-0000-0000-000000000000}"/>
          </ac:spMkLst>
        </pc:spChg>
        <pc:spChg chg="mod">
          <ac:chgData name="Ramon Muniz" userId="3ec5e25f-4661-493c-bb49-225568c52e5e" providerId="ADAL" clId="{E3A7D253-72B6-4882-B53A-F2AC287A3446}" dt="2023-11-12T23:46:48.323" v="174" actId="1076"/>
          <ac:spMkLst>
            <pc:docMk/>
            <pc:sldMk cId="1856534358" sldId="2145706502"/>
            <ac:spMk id="16" creationId="{2585151F-9120-7C85-3C27-60566608B43D}"/>
          </ac:spMkLst>
        </pc:spChg>
        <pc:spChg chg="mod">
          <ac:chgData name="Ramon Muniz" userId="3ec5e25f-4661-493c-bb49-225568c52e5e" providerId="ADAL" clId="{E3A7D253-72B6-4882-B53A-F2AC287A3446}" dt="2023-11-12T23:46:56.411" v="178" actId="1076"/>
          <ac:spMkLst>
            <pc:docMk/>
            <pc:sldMk cId="1856534358" sldId="2145706502"/>
            <ac:spMk id="17" creationId="{03B6C73D-1D0A-DCD2-E86C-813ED22F1AA9}"/>
          </ac:spMkLst>
        </pc:spChg>
        <pc:spChg chg="mod">
          <ac:chgData name="Ramon Muniz" userId="3ec5e25f-4661-493c-bb49-225568c52e5e" providerId="ADAL" clId="{E3A7D253-72B6-4882-B53A-F2AC287A3446}" dt="2023-11-12T23:46:54.308" v="177" actId="1076"/>
          <ac:spMkLst>
            <pc:docMk/>
            <pc:sldMk cId="1856534358" sldId="2145706502"/>
            <ac:spMk id="18" creationId="{1F6CDC5B-4C57-7220-2A84-108BCA4575D7}"/>
          </ac:spMkLst>
        </pc:spChg>
        <pc:grpChg chg="mod">
          <ac:chgData name="Ramon Muniz" userId="3ec5e25f-4661-493c-bb49-225568c52e5e" providerId="ADAL" clId="{E3A7D253-72B6-4882-B53A-F2AC287A3446}" dt="2023-11-12T23:46:52.291" v="176" actId="1076"/>
          <ac:grpSpMkLst>
            <pc:docMk/>
            <pc:sldMk cId="1856534358" sldId="2145706502"/>
            <ac:grpSpMk id="3" creationId="{FE041980-54FC-C9C3-311F-F10AA1A170DB}"/>
          </ac:grpSpMkLst>
        </pc:grpChg>
        <pc:grpChg chg="add mod">
          <ac:chgData name="Ramon Muniz" userId="3ec5e25f-4661-493c-bb49-225568c52e5e" providerId="ADAL" clId="{E3A7D253-72B6-4882-B53A-F2AC287A3446}" dt="2023-11-12T23:46:58.224" v="179" actId="1076"/>
          <ac:grpSpMkLst>
            <pc:docMk/>
            <pc:sldMk cId="1856534358" sldId="2145706502"/>
            <ac:grpSpMk id="41" creationId="{F3A16848-448F-8971-64C5-57EDC984ECD5}"/>
          </ac:grpSpMkLst>
        </pc:grpChg>
        <pc:picChg chg="mod">
          <ac:chgData name="Ramon Muniz" userId="3ec5e25f-4661-493c-bb49-225568c52e5e" providerId="ADAL" clId="{E3A7D253-72B6-4882-B53A-F2AC287A3446}" dt="2023-11-12T23:46:50.378" v="175" actId="1076"/>
          <ac:picMkLst>
            <pc:docMk/>
            <pc:sldMk cId="1856534358" sldId="2145706502"/>
            <ac:picMk id="36" creationId="{B08BC8ED-B404-2C3E-45EC-22B61947E083}"/>
          </ac:picMkLst>
        </pc:picChg>
        <pc:picChg chg="mod">
          <ac:chgData name="Ramon Muniz" userId="3ec5e25f-4661-493c-bb49-225568c52e5e" providerId="ADAL" clId="{E3A7D253-72B6-4882-B53A-F2AC287A3446}" dt="2023-11-12T23:52:24.019" v="180" actId="1076"/>
          <ac:picMkLst>
            <pc:docMk/>
            <pc:sldMk cId="1856534358" sldId="2145706502"/>
            <ac:picMk id="40" creationId="{E32A281C-C5EB-55F4-1D59-E084BF1ABF50}"/>
          </ac:picMkLst>
        </pc:picChg>
        <pc:picChg chg="mod">
          <ac:chgData name="Ramon Muniz" userId="3ec5e25f-4661-493c-bb49-225568c52e5e" providerId="ADAL" clId="{E3A7D253-72B6-4882-B53A-F2AC287A3446}" dt="2023-11-12T23:46:58.224" v="179" actId="1076"/>
          <ac:picMkLst>
            <pc:docMk/>
            <pc:sldMk cId="1856534358" sldId="2145706502"/>
            <ac:picMk id="43" creationId="{2A611EA2-0A3D-AD39-29B3-189369CDFBE5}"/>
          </ac:picMkLst>
        </pc:picChg>
        <pc:picChg chg="mod">
          <ac:chgData name="Ramon Muniz" userId="3ec5e25f-4661-493c-bb49-225568c52e5e" providerId="ADAL" clId="{E3A7D253-72B6-4882-B53A-F2AC287A3446}" dt="2023-11-12T23:46:58.224" v="179" actId="1076"/>
          <ac:picMkLst>
            <pc:docMk/>
            <pc:sldMk cId="1856534358" sldId="2145706502"/>
            <ac:picMk id="48" creationId="{8F63BD7A-2B0D-4A46-C137-C3765871DBCF}"/>
          </ac:picMkLst>
        </pc:picChg>
        <pc:picChg chg="mod">
          <ac:chgData name="Ramon Muniz" userId="3ec5e25f-4661-493c-bb49-225568c52e5e" providerId="ADAL" clId="{E3A7D253-72B6-4882-B53A-F2AC287A3446}" dt="2023-11-12T23:46:58.224" v="179" actId="1076"/>
          <ac:picMkLst>
            <pc:docMk/>
            <pc:sldMk cId="1856534358" sldId="2145706502"/>
            <ac:picMk id="50" creationId="{5C65D73F-A65B-3AE0-C8B6-3A335044076B}"/>
          </ac:picMkLst>
        </pc:picChg>
        <pc:picChg chg="mod">
          <ac:chgData name="Ramon Muniz" userId="3ec5e25f-4661-493c-bb49-225568c52e5e" providerId="ADAL" clId="{E3A7D253-72B6-4882-B53A-F2AC287A3446}" dt="2023-11-12T23:46:58.224" v="179" actId="1076"/>
          <ac:picMkLst>
            <pc:docMk/>
            <pc:sldMk cId="1856534358" sldId="2145706502"/>
            <ac:picMk id="55" creationId="{35ABC70B-E7D3-5CF6-511F-A10DD353B1FA}"/>
          </ac:picMkLst>
        </pc:picChg>
        <pc:picChg chg="mod">
          <ac:chgData name="Ramon Muniz" userId="3ec5e25f-4661-493c-bb49-225568c52e5e" providerId="ADAL" clId="{E3A7D253-72B6-4882-B53A-F2AC287A3446}" dt="2023-11-12T23:46:58.224" v="179" actId="1076"/>
          <ac:picMkLst>
            <pc:docMk/>
            <pc:sldMk cId="1856534358" sldId="2145706502"/>
            <ac:picMk id="56" creationId="{749BD72A-EFC3-4BC3-CA4E-76C9511009BB}"/>
          </ac:picMkLst>
        </pc:picChg>
        <pc:cxnChg chg="mod">
          <ac:chgData name="Ramon Muniz" userId="3ec5e25f-4661-493c-bb49-225568c52e5e" providerId="ADAL" clId="{E3A7D253-72B6-4882-B53A-F2AC287A3446}" dt="2023-11-12T23:46:58.224" v="179" actId="1076"/>
          <ac:cxnSpMkLst>
            <pc:docMk/>
            <pc:sldMk cId="1856534358" sldId="2145706502"/>
            <ac:cxnSpMk id="42" creationId="{1580D0B9-B665-AF40-5F54-E4DF348FADCA}"/>
          </ac:cxnSpMkLst>
        </pc:cxnChg>
        <pc:cxnChg chg="mod">
          <ac:chgData name="Ramon Muniz" userId="3ec5e25f-4661-493c-bb49-225568c52e5e" providerId="ADAL" clId="{E3A7D253-72B6-4882-B53A-F2AC287A3446}" dt="2023-11-12T23:46:58.224" v="179" actId="1076"/>
          <ac:cxnSpMkLst>
            <pc:docMk/>
            <pc:sldMk cId="1856534358" sldId="2145706502"/>
            <ac:cxnSpMk id="44" creationId="{9283FCDD-8022-D0E4-44ED-02058CDE160F}"/>
          </ac:cxnSpMkLst>
        </pc:cxnChg>
        <pc:cxnChg chg="mod">
          <ac:chgData name="Ramon Muniz" userId="3ec5e25f-4661-493c-bb49-225568c52e5e" providerId="ADAL" clId="{E3A7D253-72B6-4882-B53A-F2AC287A3446}" dt="2023-11-12T23:46:58.224" v="179" actId="1076"/>
          <ac:cxnSpMkLst>
            <pc:docMk/>
            <pc:sldMk cId="1856534358" sldId="2145706502"/>
            <ac:cxnSpMk id="49" creationId="{4A3E1804-6741-E889-9EE7-1BEC74655533}"/>
          </ac:cxnSpMkLst>
        </pc:cxnChg>
        <pc:cxnChg chg="mod">
          <ac:chgData name="Ramon Muniz" userId="3ec5e25f-4661-493c-bb49-225568c52e5e" providerId="ADAL" clId="{E3A7D253-72B6-4882-B53A-F2AC287A3446}" dt="2023-11-12T23:46:58.224" v="179" actId="1076"/>
          <ac:cxnSpMkLst>
            <pc:docMk/>
            <pc:sldMk cId="1856534358" sldId="2145706502"/>
            <ac:cxnSpMk id="54" creationId="{45FDDF43-29ED-FD14-BF4E-0A2DBF145CB2}"/>
          </ac:cxnSpMkLst>
        </pc:cxnChg>
      </pc:sldChg>
      <pc:sldChg chg="del">
        <pc:chgData name="Ramon Muniz" userId="3ec5e25f-4661-493c-bb49-225568c52e5e" providerId="ADAL" clId="{E3A7D253-72B6-4882-B53A-F2AC287A3446}" dt="2023-11-13T00:04:45.166" v="262" actId="47"/>
        <pc:sldMkLst>
          <pc:docMk/>
          <pc:sldMk cId="3010559546" sldId="2145706503"/>
        </pc:sldMkLst>
      </pc:sldChg>
      <pc:sldChg chg="del">
        <pc:chgData name="Ramon Muniz" userId="3ec5e25f-4661-493c-bb49-225568c52e5e" providerId="ADAL" clId="{E3A7D253-72B6-4882-B53A-F2AC287A3446}" dt="2023-11-13T00:04:57.834" v="263" actId="47"/>
        <pc:sldMkLst>
          <pc:docMk/>
          <pc:sldMk cId="2789254951" sldId="2145706509"/>
        </pc:sldMkLst>
      </pc:sldChg>
      <pc:sldChg chg="del">
        <pc:chgData name="Ramon Muniz" userId="3ec5e25f-4661-493c-bb49-225568c52e5e" providerId="ADAL" clId="{E3A7D253-72B6-4882-B53A-F2AC287A3446}" dt="2023-11-13T00:04:57.834" v="263" actId="47"/>
        <pc:sldMkLst>
          <pc:docMk/>
          <pc:sldMk cId="2290010146" sldId="2145706510"/>
        </pc:sldMkLst>
      </pc:sldChg>
      <pc:sldChg chg="del">
        <pc:chgData name="Ramon Muniz" userId="3ec5e25f-4661-493c-bb49-225568c52e5e" providerId="ADAL" clId="{E3A7D253-72B6-4882-B53A-F2AC287A3446}" dt="2023-11-13T00:04:57.834" v="263" actId="47"/>
        <pc:sldMkLst>
          <pc:docMk/>
          <pc:sldMk cId="1688049563" sldId="2145706511"/>
        </pc:sldMkLst>
      </pc:sldChg>
      <pc:sldChg chg="del">
        <pc:chgData name="Ramon Muniz" userId="3ec5e25f-4661-493c-bb49-225568c52e5e" providerId="ADAL" clId="{E3A7D253-72B6-4882-B53A-F2AC287A3446}" dt="2023-11-13T00:04:57.834" v="263" actId="47"/>
        <pc:sldMkLst>
          <pc:docMk/>
          <pc:sldMk cId="1013572317" sldId="2145706512"/>
        </pc:sldMkLst>
      </pc:sldChg>
      <pc:sldChg chg="del">
        <pc:chgData name="Ramon Muniz" userId="3ec5e25f-4661-493c-bb49-225568c52e5e" providerId="ADAL" clId="{E3A7D253-72B6-4882-B53A-F2AC287A3446}" dt="2023-11-13T00:04:57.834" v="263" actId="47"/>
        <pc:sldMkLst>
          <pc:docMk/>
          <pc:sldMk cId="333358571" sldId="2145706513"/>
        </pc:sldMkLst>
      </pc:sldChg>
      <pc:sldChg chg="del">
        <pc:chgData name="Ramon Muniz" userId="3ec5e25f-4661-493c-bb49-225568c52e5e" providerId="ADAL" clId="{E3A7D253-72B6-4882-B53A-F2AC287A3446}" dt="2023-11-13T00:04:57.834" v="263" actId="47"/>
        <pc:sldMkLst>
          <pc:docMk/>
          <pc:sldMk cId="3460537917" sldId="2145706514"/>
        </pc:sldMkLst>
      </pc:sldChg>
      <pc:sldChg chg="del">
        <pc:chgData name="Ramon Muniz" userId="3ec5e25f-4661-493c-bb49-225568c52e5e" providerId="ADAL" clId="{E3A7D253-72B6-4882-B53A-F2AC287A3446}" dt="2023-11-13T00:04:57.834" v="263" actId="47"/>
        <pc:sldMkLst>
          <pc:docMk/>
          <pc:sldMk cId="2771926177" sldId="2145706516"/>
        </pc:sldMkLst>
      </pc:sldChg>
      <pc:sldChg chg="del">
        <pc:chgData name="Ramon Muniz" userId="3ec5e25f-4661-493c-bb49-225568c52e5e" providerId="ADAL" clId="{E3A7D253-72B6-4882-B53A-F2AC287A3446}" dt="2023-11-13T00:04:57.834" v="263" actId="47"/>
        <pc:sldMkLst>
          <pc:docMk/>
          <pc:sldMk cId="2699165359" sldId="2145706517"/>
        </pc:sldMkLst>
      </pc:sldChg>
      <pc:sldChg chg="del">
        <pc:chgData name="Ramon Muniz" userId="3ec5e25f-4661-493c-bb49-225568c52e5e" providerId="ADAL" clId="{E3A7D253-72B6-4882-B53A-F2AC287A3446}" dt="2023-11-13T00:04:57.834" v="263" actId="47"/>
        <pc:sldMkLst>
          <pc:docMk/>
          <pc:sldMk cId="3264499292" sldId="2145706518"/>
        </pc:sldMkLst>
      </pc:sldChg>
      <pc:sldChg chg="del">
        <pc:chgData name="Ramon Muniz" userId="3ec5e25f-4661-493c-bb49-225568c52e5e" providerId="ADAL" clId="{E3A7D253-72B6-4882-B53A-F2AC287A3446}" dt="2023-11-13T00:04:57.834" v="263" actId="47"/>
        <pc:sldMkLst>
          <pc:docMk/>
          <pc:sldMk cId="1324185657" sldId="2145706519"/>
        </pc:sldMkLst>
      </pc:sldChg>
      <pc:sldChg chg="del">
        <pc:chgData name="Ramon Muniz" userId="3ec5e25f-4661-493c-bb49-225568c52e5e" providerId="ADAL" clId="{E3A7D253-72B6-4882-B53A-F2AC287A3446}" dt="2023-11-13T00:04:57.834" v="263" actId="47"/>
        <pc:sldMkLst>
          <pc:docMk/>
          <pc:sldMk cId="1454025174" sldId="2145706520"/>
        </pc:sldMkLst>
      </pc:sldChg>
      <pc:sldChg chg="addSp delSp modSp add mod ord">
        <pc:chgData name="Ramon Muniz" userId="3ec5e25f-4661-493c-bb49-225568c52e5e" providerId="ADAL" clId="{E3A7D253-72B6-4882-B53A-F2AC287A3446}" dt="2023-11-13T00:04:21.613" v="260" actId="20577"/>
        <pc:sldMkLst>
          <pc:docMk/>
          <pc:sldMk cId="780556468" sldId="2145706521"/>
        </pc:sldMkLst>
        <pc:spChg chg="add del mod">
          <ac:chgData name="Ramon Muniz" userId="3ec5e25f-4661-493c-bb49-225568c52e5e" providerId="ADAL" clId="{E3A7D253-72B6-4882-B53A-F2AC287A3446}" dt="2023-11-12T23:42:04.196" v="66"/>
          <ac:spMkLst>
            <pc:docMk/>
            <pc:sldMk cId="780556468" sldId="2145706521"/>
            <ac:spMk id="2" creationId="{23EBCB6D-A3A4-F572-104D-22F576FA1794}"/>
          </ac:spMkLst>
        </pc:spChg>
        <pc:spChg chg="mod">
          <ac:chgData name="Ramon Muniz" userId="3ec5e25f-4661-493c-bb49-225568c52e5e" providerId="ADAL" clId="{E3A7D253-72B6-4882-B53A-F2AC287A3446}" dt="2023-11-12T23:44:50.379" v="166" actId="20577"/>
          <ac:spMkLst>
            <pc:docMk/>
            <pc:sldMk cId="780556468" sldId="2145706521"/>
            <ac:spMk id="7" creationId="{00000000-0000-0000-0000-000000000000}"/>
          </ac:spMkLst>
        </pc:spChg>
        <pc:spChg chg="add mod">
          <ac:chgData name="Ramon Muniz" userId="3ec5e25f-4661-493c-bb49-225568c52e5e" providerId="ADAL" clId="{E3A7D253-72B6-4882-B53A-F2AC287A3446}" dt="2023-11-13T00:04:21.613" v="260" actId="20577"/>
          <ac:spMkLst>
            <pc:docMk/>
            <pc:sldMk cId="780556468" sldId="2145706521"/>
            <ac:spMk id="14" creationId="{AA59D142-3B29-DE7E-886D-72D081FFFA60}"/>
          </ac:spMkLst>
        </pc:spChg>
        <pc:spChg chg="del">
          <ac:chgData name="Ramon Muniz" userId="3ec5e25f-4661-493c-bb49-225568c52e5e" providerId="ADAL" clId="{E3A7D253-72B6-4882-B53A-F2AC287A3446}" dt="2023-11-12T23:36:12.331" v="5" actId="478"/>
          <ac:spMkLst>
            <pc:docMk/>
            <pc:sldMk cId="780556468" sldId="2145706521"/>
            <ac:spMk id="15" creationId="{6511F7F6-7FE8-52E2-675B-34597B741753}"/>
          </ac:spMkLst>
        </pc:spChg>
        <pc:spChg chg="del">
          <ac:chgData name="Ramon Muniz" userId="3ec5e25f-4661-493c-bb49-225568c52e5e" providerId="ADAL" clId="{E3A7D253-72B6-4882-B53A-F2AC287A3446}" dt="2023-11-12T23:36:12.331" v="5" actId="478"/>
          <ac:spMkLst>
            <pc:docMk/>
            <pc:sldMk cId="780556468" sldId="2145706521"/>
            <ac:spMk id="16" creationId="{2585151F-9120-7C85-3C27-60566608B43D}"/>
          </ac:spMkLst>
        </pc:spChg>
        <pc:spChg chg="del">
          <ac:chgData name="Ramon Muniz" userId="3ec5e25f-4661-493c-bb49-225568c52e5e" providerId="ADAL" clId="{E3A7D253-72B6-4882-B53A-F2AC287A3446}" dt="2023-11-12T23:36:12.331" v="5" actId="478"/>
          <ac:spMkLst>
            <pc:docMk/>
            <pc:sldMk cId="780556468" sldId="2145706521"/>
            <ac:spMk id="17" creationId="{03B6C73D-1D0A-DCD2-E86C-813ED22F1AA9}"/>
          </ac:spMkLst>
        </pc:spChg>
        <pc:spChg chg="del">
          <ac:chgData name="Ramon Muniz" userId="3ec5e25f-4661-493c-bb49-225568c52e5e" providerId="ADAL" clId="{E3A7D253-72B6-4882-B53A-F2AC287A3446}" dt="2023-11-12T23:36:12.331" v="5" actId="478"/>
          <ac:spMkLst>
            <pc:docMk/>
            <pc:sldMk cId="780556468" sldId="2145706521"/>
            <ac:spMk id="18" creationId="{1F6CDC5B-4C57-7220-2A84-108BCA4575D7}"/>
          </ac:spMkLst>
        </pc:spChg>
        <pc:spChg chg="del">
          <ac:chgData name="Ramon Muniz" userId="3ec5e25f-4661-493c-bb49-225568c52e5e" providerId="ADAL" clId="{E3A7D253-72B6-4882-B53A-F2AC287A3446}" dt="2023-11-12T23:36:12.331" v="5" actId="478"/>
          <ac:spMkLst>
            <pc:docMk/>
            <pc:sldMk cId="780556468" sldId="2145706521"/>
            <ac:spMk id="19" creationId="{BBC9376E-31FB-8A94-519D-DA25407BA246}"/>
          </ac:spMkLst>
        </pc:spChg>
        <pc:spChg chg="add del mod">
          <ac:chgData name="Ramon Muniz" userId="3ec5e25f-4661-493c-bb49-225568c52e5e" providerId="ADAL" clId="{E3A7D253-72B6-4882-B53A-F2AC287A3446}" dt="2023-11-12T23:42:19.552" v="71" actId="478"/>
          <ac:spMkLst>
            <pc:docMk/>
            <pc:sldMk cId="780556468" sldId="2145706521"/>
            <ac:spMk id="20" creationId="{BC079B37-6F5E-9466-61F8-C07A3D7CAEBA}"/>
          </ac:spMkLst>
        </pc:spChg>
        <pc:grpChg chg="del">
          <ac:chgData name="Ramon Muniz" userId="3ec5e25f-4661-493c-bb49-225568c52e5e" providerId="ADAL" clId="{E3A7D253-72B6-4882-B53A-F2AC287A3446}" dt="2023-11-12T23:36:12.331" v="5" actId="478"/>
          <ac:grpSpMkLst>
            <pc:docMk/>
            <pc:sldMk cId="780556468" sldId="2145706521"/>
            <ac:grpSpMk id="3" creationId="{FE041980-54FC-C9C3-311F-F10AA1A170DB}"/>
          </ac:grpSpMkLst>
        </pc:grpChg>
        <pc:grpChg chg="del">
          <ac:chgData name="Ramon Muniz" userId="3ec5e25f-4661-493c-bb49-225568c52e5e" providerId="ADAL" clId="{E3A7D253-72B6-4882-B53A-F2AC287A3446}" dt="2023-11-12T23:36:12.331" v="5" actId="478"/>
          <ac:grpSpMkLst>
            <pc:docMk/>
            <pc:sldMk cId="780556468" sldId="2145706521"/>
            <ac:grpSpMk id="4" creationId="{F0CED84E-8D66-EAF1-367A-AD60267203A5}"/>
          </ac:grpSpMkLst>
        </pc:grpChg>
        <pc:grpChg chg="del">
          <ac:chgData name="Ramon Muniz" userId="3ec5e25f-4661-493c-bb49-225568c52e5e" providerId="ADAL" clId="{E3A7D253-72B6-4882-B53A-F2AC287A3446}" dt="2023-11-12T23:36:12.331" v="5" actId="478"/>
          <ac:grpSpMkLst>
            <pc:docMk/>
            <pc:sldMk cId="780556468" sldId="2145706521"/>
            <ac:grpSpMk id="5" creationId="{F6E81027-7F7A-DD60-9159-A705AB366273}"/>
          </ac:grpSpMkLst>
        </pc:grpChg>
        <pc:grpChg chg="del">
          <ac:chgData name="Ramon Muniz" userId="3ec5e25f-4661-493c-bb49-225568c52e5e" providerId="ADAL" clId="{E3A7D253-72B6-4882-B53A-F2AC287A3446}" dt="2023-11-12T23:36:12.331" v="5" actId="478"/>
          <ac:grpSpMkLst>
            <pc:docMk/>
            <pc:sldMk cId="780556468" sldId="2145706521"/>
            <ac:grpSpMk id="41" creationId="{F3A16848-448F-8971-64C5-57EDC984ECD5}"/>
          </ac:grpSpMkLst>
        </pc:grpChg>
        <pc:picChg chg="del">
          <ac:chgData name="Ramon Muniz" userId="3ec5e25f-4661-493c-bb49-225568c52e5e" providerId="ADAL" clId="{E3A7D253-72B6-4882-B53A-F2AC287A3446}" dt="2023-11-12T23:36:12.331" v="5" actId="478"/>
          <ac:picMkLst>
            <pc:docMk/>
            <pc:sldMk cId="780556468" sldId="2145706521"/>
            <ac:picMk id="24" creationId="{F680756C-ACCF-5FA4-0213-03C6C63CD9F8}"/>
          </ac:picMkLst>
        </pc:picChg>
        <pc:picChg chg="del">
          <ac:chgData name="Ramon Muniz" userId="3ec5e25f-4661-493c-bb49-225568c52e5e" providerId="ADAL" clId="{E3A7D253-72B6-4882-B53A-F2AC287A3446}" dt="2023-11-12T23:36:12.331" v="5" actId="478"/>
          <ac:picMkLst>
            <pc:docMk/>
            <pc:sldMk cId="780556468" sldId="2145706521"/>
            <ac:picMk id="28" creationId="{42C67A14-8196-91BA-E897-7FD64AB479BC}"/>
          </ac:picMkLst>
        </pc:picChg>
        <pc:picChg chg="del">
          <ac:chgData name="Ramon Muniz" userId="3ec5e25f-4661-493c-bb49-225568c52e5e" providerId="ADAL" clId="{E3A7D253-72B6-4882-B53A-F2AC287A3446}" dt="2023-11-12T23:36:12.331" v="5" actId="478"/>
          <ac:picMkLst>
            <pc:docMk/>
            <pc:sldMk cId="780556468" sldId="2145706521"/>
            <ac:picMk id="32" creationId="{C95D3BFE-0CA1-FC2D-A02C-8F83B445F272}"/>
          </ac:picMkLst>
        </pc:picChg>
        <pc:picChg chg="del">
          <ac:chgData name="Ramon Muniz" userId="3ec5e25f-4661-493c-bb49-225568c52e5e" providerId="ADAL" clId="{E3A7D253-72B6-4882-B53A-F2AC287A3446}" dt="2023-11-12T23:36:12.331" v="5" actId="478"/>
          <ac:picMkLst>
            <pc:docMk/>
            <pc:sldMk cId="780556468" sldId="2145706521"/>
            <ac:picMk id="36" creationId="{B08BC8ED-B404-2C3E-45EC-22B61947E083}"/>
          </ac:picMkLst>
        </pc:picChg>
        <pc:picChg chg="del">
          <ac:chgData name="Ramon Muniz" userId="3ec5e25f-4661-493c-bb49-225568c52e5e" providerId="ADAL" clId="{E3A7D253-72B6-4882-B53A-F2AC287A3446}" dt="2023-11-12T23:36:12.331" v="5" actId="478"/>
          <ac:picMkLst>
            <pc:docMk/>
            <pc:sldMk cId="780556468" sldId="2145706521"/>
            <ac:picMk id="38" creationId="{F15FF86B-DE3A-DCFA-B4D2-4F382AB50E06}"/>
          </ac:picMkLst>
        </pc:picChg>
        <pc:picChg chg="del">
          <ac:chgData name="Ramon Muniz" userId="3ec5e25f-4661-493c-bb49-225568c52e5e" providerId="ADAL" clId="{E3A7D253-72B6-4882-B53A-F2AC287A3446}" dt="2023-11-12T23:36:12.331" v="5" actId="478"/>
          <ac:picMkLst>
            <pc:docMk/>
            <pc:sldMk cId="780556468" sldId="2145706521"/>
            <ac:picMk id="40" creationId="{E32A281C-C5EB-55F4-1D59-E084BF1ABF50}"/>
          </ac:picMkLst>
        </pc:picChg>
        <pc:picChg chg="add mod">
          <ac:chgData name="Ramon Muniz" userId="3ec5e25f-4661-493c-bb49-225568c52e5e" providerId="ADAL" clId="{E3A7D253-72B6-4882-B53A-F2AC287A3446}" dt="2023-11-12T23:42:21.418" v="72" actId="1076"/>
          <ac:picMkLst>
            <pc:docMk/>
            <pc:sldMk cId="780556468" sldId="2145706521"/>
            <ac:picMk id="2050" creationId="{75386BD2-75D3-DF89-67F6-39726165B6EE}"/>
          </ac:picMkLst>
        </pc:picChg>
      </pc:sldChg>
      <pc:sldChg chg="addSp delSp modSp add mod">
        <pc:chgData name="Ramon Muniz" userId="3ec5e25f-4661-493c-bb49-225568c52e5e" providerId="ADAL" clId="{E3A7D253-72B6-4882-B53A-F2AC287A3446}" dt="2023-11-13T00:21:59.103" v="273" actId="478"/>
        <pc:sldMkLst>
          <pc:docMk/>
          <pc:sldMk cId="2687149411" sldId="2145706522"/>
        </pc:sldMkLst>
        <pc:spChg chg="mod">
          <ac:chgData name="Ramon Muniz" userId="3ec5e25f-4661-493c-bb49-225568c52e5e" providerId="ADAL" clId="{E3A7D253-72B6-4882-B53A-F2AC287A3446}" dt="2023-11-13T00:06:39.595" v="264" actId="14100"/>
          <ac:spMkLst>
            <pc:docMk/>
            <pc:sldMk cId="2687149411" sldId="2145706522"/>
            <ac:spMk id="7" creationId="{00000000-0000-0000-0000-000000000000}"/>
          </ac:spMkLst>
        </pc:spChg>
        <pc:spChg chg="add del mod">
          <ac:chgData name="Ramon Muniz" userId="3ec5e25f-4661-493c-bb49-225568c52e5e" providerId="ADAL" clId="{E3A7D253-72B6-4882-B53A-F2AC287A3446}" dt="2023-11-13T00:21:59.103" v="273" actId="478"/>
          <ac:spMkLst>
            <pc:docMk/>
            <pc:sldMk cId="2687149411" sldId="2145706522"/>
            <ac:spMk id="36" creationId="{7C59C221-4D86-44AA-A5B6-0727A874942C}"/>
          </ac:spMkLst>
        </pc:spChg>
        <pc:picChg chg="add del mod">
          <ac:chgData name="Ramon Muniz" userId="3ec5e25f-4661-493c-bb49-225568c52e5e" providerId="ADAL" clId="{E3A7D253-72B6-4882-B53A-F2AC287A3446}" dt="2023-11-12T23:54:23.375" v="191" actId="478"/>
          <ac:picMkLst>
            <pc:docMk/>
            <pc:sldMk cId="2687149411" sldId="2145706522"/>
            <ac:picMk id="3" creationId="{6E8ADFB0-7989-0478-1580-ED1ED1620A8E}"/>
          </ac:picMkLst>
        </pc:picChg>
        <pc:picChg chg="add del mod">
          <ac:chgData name="Ramon Muniz" userId="3ec5e25f-4661-493c-bb49-225568c52e5e" providerId="ADAL" clId="{E3A7D253-72B6-4882-B53A-F2AC287A3446}" dt="2023-11-12T23:54:22.374" v="190" actId="478"/>
          <ac:picMkLst>
            <pc:docMk/>
            <pc:sldMk cId="2687149411" sldId="2145706522"/>
            <ac:picMk id="5" creationId="{9B695733-CEAF-4C8B-31A3-86D09404F782}"/>
          </ac:picMkLst>
        </pc:picChg>
        <pc:picChg chg="add del mod">
          <ac:chgData name="Ramon Muniz" userId="3ec5e25f-4661-493c-bb49-225568c52e5e" providerId="ADAL" clId="{E3A7D253-72B6-4882-B53A-F2AC287A3446}" dt="2023-11-12T23:54:25.533" v="193" actId="478"/>
          <ac:picMkLst>
            <pc:docMk/>
            <pc:sldMk cId="2687149411" sldId="2145706522"/>
            <ac:picMk id="8" creationId="{207BDF9D-548B-C030-A483-0CF2815E93BD}"/>
          </ac:picMkLst>
        </pc:picChg>
        <pc:picChg chg="add del mod">
          <ac:chgData name="Ramon Muniz" userId="3ec5e25f-4661-493c-bb49-225568c52e5e" providerId="ADAL" clId="{E3A7D253-72B6-4882-B53A-F2AC287A3446}" dt="2023-11-12T23:54:24.181" v="192" actId="478"/>
          <ac:picMkLst>
            <pc:docMk/>
            <pc:sldMk cId="2687149411" sldId="2145706522"/>
            <ac:picMk id="11" creationId="{0E55488B-6E9C-D4D3-66FE-C87A31976F65}"/>
          </ac:picMkLst>
        </pc:picChg>
        <pc:picChg chg="add del mod">
          <ac:chgData name="Ramon Muniz" userId="3ec5e25f-4661-493c-bb49-225568c52e5e" providerId="ADAL" clId="{E3A7D253-72B6-4882-B53A-F2AC287A3446}" dt="2023-11-12T23:54:50.470" v="203" actId="478"/>
          <ac:picMkLst>
            <pc:docMk/>
            <pc:sldMk cId="2687149411" sldId="2145706522"/>
            <ac:picMk id="13" creationId="{782D43B1-8AD3-9874-F91F-B17CB1B25EBA}"/>
          </ac:picMkLst>
        </pc:picChg>
        <pc:picChg chg="add del mod">
          <ac:chgData name="Ramon Muniz" userId="3ec5e25f-4661-493c-bb49-225568c52e5e" providerId="ADAL" clId="{E3A7D253-72B6-4882-B53A-F2AC287A3446}" dt="2023-11-12T23:54:44.669" v="199" actId="478"/>
          <ac:picMkLst>
            <pc:docMk/>
            <pc:sldMk cId="2687149411" sldId="2145706522"/>
            <ac:picMk id="15" creationId="{70DD9D0D-6CF5-5596-F240-689F6B2D787C}"/>
          </ac:picMkLst>
        </pc:picChg>
        <pc:picChg chg="add del mod">
          <ac:chgData name="Ramon Muniz" userId="3ec5e25f-4661-493c-bb49-225568c52e5e" providerId="ADAL" clId="{E3A7D253-72B6-4882-B53A-F2AC287A3446}" dt="2023-11-12T23:54:45.533" v="200" actId="478"/>
          <ac:picMkLst>
            <pc:docMk/>
            <pc:sldMk cId="2687149411" sldId="2145706522"/>
            <ac:picMk id="17" creationId="{06AEC8A6-1BB6-38F2-FE0A-87F0DB268E90}"/>
          </ac:picMkLst>
        </pc:picChg>
        <pc:picChg chg="add del mod">
          <ac:chgData name="Ramon Muniz" userId="3ec5e25f-4661-493c-bb49-225568c52e5e" providerId="ADAL" clId="{E3A7D253-72B6-4882-B53A-F2AC287A3446}" dt="2023-11-12T23:55:06.485" v="212" actId="478"/>
          <ac:picMkLst>
            <pc:docMk/>
            <pc:sldMk cId="2687149411" sldId="2145706522"/>
            <ac:picMk id="19" creationId="{DC4ED3B9-380D-E3D8-B080-BAD4FCA5E30B}"/>
          </ac:picMkLst>
        </pc:picChg>
        <pc:picChg chg="add del mod">
          <ac:chgData name="Ramon Muniz" userId="3ec5e25f-4661-493c-bb49-225568c52e5e" providerId="ADAL" clId="{E3A7D253-72B6-4882-B53A-F2AC287A3446}" dt="2023-11-12T23:55:03.125" v="210" actId="478"/>
          <ac:picMkLst>
            <pc:docMk/>
            <pc:sldMk cId="2687149411" sldId="2145706522"/>
            <ac:picMk id="21" creationId="{2D3EFB19-275F-4483-C8EF-9E7BD3A4EB4C}"/>
          </ac:picMkLst>
        </pc:picChg>
        <pc:picChg chg="add del mod ord">
          <ac:chgData name="Ramon Muniz" userId="3ec5e25f-4661-493c-bb49-225568c52e5e" providerId="ADAL" clId="{E3A7D253-72B6-4882-B53A-F2AC287A3446}" dt="2023-11-13T00:03:40.412" v="246" actId="478"/>
          <ac:picMkLst>
            <pc:docMk/>
            <pc:sldMk cId="2687149411" sldId="2145706522"/>
            <ac:picMk id="23" creationId="{5648E85C-F0BD-206C-87EF-2F11B49B8B9F}"/>
          </ac:picMkLst>
        </pc:picChg>
        <pc:picChg chg="add mod ord">
          <ac:chgData name="Ramon Muniz" userId="3ec5e25f-4661-493c-bb49-225568c52e5e" providerId="ADAL" clId="{E3A7D253-72B6-4882-B53A-F2AC287A3446}" dt="2023-11-13T00:06:58.919" v="270" actId="1076"/>
          <ac:picMkLst>
            <pc:docMk/>
            <pc:sldMk cId="2687149411" sldId="2145706522"/>
            <ac:picMk id="25" creationId="{861C4E63-1D19-A430-4C29-3A66DAEBA236}"/>
          </ac:picMkLst>
        </pc:picChg>
        <pc:picChg chg="add mod ord">
          <ac:chgData name="Ramon Muniz" userId="3ec5e25f-4661-493c-bb49-225568c52e5e" providerId="ADAL" clId="{E3A7D253-72B6-4882-B53A-F2AC287A3446}" dt="2023-11-13T00:03:48.402" v="248" actId="1076"/>
          <ac:picMkLst>
            <pc:docMk/>
            <pc:sldMk cId="2687149411" sldId="2145706522"/>
            <ac:picMk id="27" creationId="{9AB4FA2E-775C-D123-DC74-EC44A242A89C}"/>
          </ac:picMkLst>
        </pc:picChg>
        <pc:picChg chg="add mod ord">
          <ac:chgData name="Ramon Muniz" userId="3ec5e25f-4661-493c-bb49-225568c52e5e" providerId="ADAL" clId="{E3A7D253-72B6-4882-B53A-F2AC287A3446}" dt="2023-11-12T23:56:12.299" v="230" actId="166"/>
          <ac:picMkLst>
            <pc:docMk/>
            <pc:sldMk cId="2687149411" sldId="2145706522"/>
            <ac:picMk id="29" creationId="{2BE58027-9A40-5820-ECB8-37852E453461}"/>
          </ac:picMkLst>
        </pc:picChg>
        <pc:picChg chg="add del mod ord">
          <ac:chgData name="Ramon Muniz" userId="3ec5e25f-4661-493c-bb49-225568c52e5e" providerId="ADAL" clId="{E3A7D253-72B6-4882-B53A-F2AC287A3446}" dt="2023-11-13T00:02:27.013" v="236" actId="478"/>
          <ac:picMkLst>
            <pc:docMk/>
            <pc:sldMk cId="2687149411" sldId="2145706522"/>
            <ac:picMk id="31" creationId="{E00EC930-C224-2D45-E6C8-7412DBA615A8}"/>
          </ac:picMkLst>
        </pc:picChg>
        <pc:picChg chg="add del mod ord">
          <ac:chgData name="Ramon Muniz" userId="3ec5e25f-4661-493c-bb49-225568c52e5e" providerId="ADAL" clId="{E3A7D253-72B6-4882-B53A-F2AC287A3446}" dt="2023-11-13T00:06:53.165" v="267" actId="478"/>
          <ac:picMkLst>
            <pc:docMk/>
            <pc:sldMk cId="2687149411" sldId="2145706522"/>
            <ac:picMk id="33" creationId="{19D49F61-536C-8CF6-8B46-5B29EC08596C}"/>
          </ac:picMkLst>
        </pc:picChg>
        <pc:picChg chg="add mod">
          <ac:chgData name="Ramon Muniz" userId="3ec5e25f-4661-493c-bb49-225568c52e5e" providerId="ADAL" clId="{E3A7D253-72B6-4882-B53A-F2AC287A3446}" dt="2023-11-13T00:06:56.158" v="268" actId="1076"/>
          <ac:picMkLst>
            <pc:docMk/>
            <pc:sldMk cId="2687149411" sldId="2145706522"/>
            <ac:picMk id="35" creationId="{F7D5D505-B5F0-6914-6D19-2C74AE3511BD}"/>
          </ac:picMkLst>
        </pc:picChg>
        <pc:picChg chg="del">
          <ac:chgData name="Ramon Muniz" userId="3ec5e25f-4661-493c-bb49-225568c52e5e" providerId="ADAL" clId="{E3A7D253-72B6-4882-B53A-F2AC287A3446}" dt="2023-11-12T23:37:15.659" v="16" actId="478"/>
          <ac:picMkLst>
            <pc:docMk/>
            <pc:sldMk cId="2687149411" sldId="2145706522"/>
            <ac:picMk id="2050" creationId="{75386BD2-75D3-DF89-67F6-39726165B6EE}"/>
          </ac:picMkLst>
        </pc:picChg>
        <pc:picChg chg="add del">
          <ac:chgData name="Ramon Muniz" userId="3ec5e25f-4661-493c-bb49-225568c52e5e" providerId="ADAL" clId="{E3A7D253-72B6-4882-B53A-F2AC287A3446}" dt="2023-11-12T23:38:21.893" v="18"/>
          <ac:picMkLst>
            <pc:docMk/>
            <pc:sldMk cId="2687149411" sldId="2145706522"/>
            <ac:picMk id="3074" creationId="{59DE077B-2CE4-9162-8D37-0F50BA428A23}"/>
          </ac:picMkLst>
        </pc:picChg>
      </pc:sldChg>
      <pc:sldChg chg="addSp delSp modSp add mod">
        <pc:chgData name="Ramon Muniz" userId="3ec5e25f-4661-493c-bb49-225568c52e5e" providerId="ADAL" clId="{E3A7D253-72B6-4882-B53A-F2AC287A3446}" dt="2023-11-13T01:00:57.773" v="287" actId="1076"/>
        <pc:sldMkLst>
          <pc:docMk/>
          <pc:sldMk cId="1829830702" sldId="2145706523"/>
        </pc:sldMkLst>
        <pc:spChg chg="del">
          <ac:chgData name="Ramon Muniz" userId="3ec5e25f-4661-493c-bb49-225568c52e5e" providerId="ADAL" clId="{E3A7D253-72B6-4882-B53A-F2AC287A3446}" dt="2023-11-12T23:45:25.312" v="172" actId="478"/>
          <ac:spMkLst>
            <pc:docMk/>
            <pc:sldMk cId="1829830702" sldId="2145706523"/>
            <ac:spMk id="7" creationId="{00000000-0000-0000-0000-000000000000}"/>
          </ac:spMkLst>
        </pc:spChg>
        <pc:spChg chg="del">
          <ac:chgData name="Ramon Muniz" userId="3ec5e25f-4661-493c-bb49-225568c52e5e" providerId="ADAL" clId="{E3A7D253-72B6-4882-B53A-F2AC287A3446}" dt="2023-11-12T23:45:22.921" v="170" actId="478"/>
          <ac:spMkLst>
            <pc:docMk/>
            <pc:sldMk cId="1829830702" sldId="2145706523"/>
            <ac:spMk id="14" creationId="{AA59D142-3B29-DE7E-886D-72D081FFFA60}"/>
          </ac:spMkLst>
        </pc:spChg>
        <pc:picChg chg="add mod">
          <ac:chgData name="Ramon Muniz" userId="3ec5e25f-4661-493c-bb49-225568c52e5e" providerId="ADAL" clId="{E3A7D253-72B6-4882-B53A-F2AC287A3446}" dt="2023-11-13T01:00:33.408" v="280" actId="2085"/>
          <ac:picMkLst>
            <pc:docMk/>
            <pc:sldMk cId="1829830702" sldId="2145706523"/>
            <ac:picMk id="3" creationId="{B7A5D2F0-F5D4-AAA2-496C-28A3EBCE6588}"/>
          </ac:picMkLst>
        </pc:picChg>
        <pc:picChg chg="add mod">
          <ac:chgData name="Ramon Muniz" userId="3ec5e25f-4661-493c-bb49-225568c52e5e" providerId="ADAL" clId="{E3A7D253-72B6-4882-B53A-F2AC287A3446}" dt="2023-11-13T01:00:57.773" v="287" actId="1076"/>
          <ac:picMkLst>
            <pc:docMk/>
            <pc:sldMk cId="1829830702" sldId="2145706523"/>
            <ac:picMk id="5" creationId="{00EEA034-F8C2-2C3D-7858-A3E444D1CCEC}"/>
          </ac:picMkLst>
        </pc:picChg>
        <pc:picChg chg="add mod">
          <ac:chgData name="Ramon Muniz" userId="3ec5e25f-4661-493c-bb49-225568c52e5e" providerId="ADAL" clId="{E3A7D253-72B6-4882-B53A-F2AC287A3446}" dt="2023-11-13T01:00:48.262" v="285" actId="1076"/>
          <ac:picMkLst>
            <pc:docMk/>
            <pc:sldMk cId="1829830702" sldId="2145706523"/>
            <ac:picMk id="8" creationId="{6F7151DE-18E4-F0F3-C439-5C995876B87D}"/>
          </ac:picMkLst>
        </pc:picChg>
        <pc:picChg chg="add del mod">
          <ac:chgData name="Ramon Muniz" userId="3ec5e25f-4661-493c-bb49-225568c52e5e" providerId="ADAL" clId="{E3A7D253-72B6-4882-B53A-F2AC287A3446}" dt="2023-11-13T01:00:54.928" v="286" actId="478"/>
          <ac:picMkLst>
            <pc:docMk/>
            <pc:sldMk cId="1829830702" sldId="2145706523"/>
            <ac:picMk id="11" creationId="{D5C234B5-619D-99E0-7D46-366D90EF3F9D}"/>
          </ac:picMkLst>
        </pc:picChg>
        <pc:picChg chg="del">
          <ac:chgData name="Ramon Muniz" userId="3ec5e25f-4661-493c-bb49-225568c52e5e" providerId="ADAL" clId="{E3A7D253-72B6-4882-B53A-F2AC287A3446}" dt="2023-11-12T23:45:23.675" v="171" actId="478"/>
          <ac:picMkLst>
            <pc:docMk/>
            <pc:sldMk cId="1829830702" sldId="2145706523"/>
            <ac:picMk id="2050" creationId="{75386BD2-75D3-DF89-67F6-39726165B6EE}"/>
          </ac:picMkLst>
        </pc:picChg>
      </pc:sldChg>
      <pc:sldChg chg="add del">
        <pc:chgData name="Ramon Muniz" userId="3ec5e25f-4661-493c-bb49-225568c52e5e" providerId="ADAL" clId="{E3A7D253-72B6-4882-B53A-F2AC287A3446}" dt="2023-11-12T23:55:46.363" v="223" actId="47"/>
        <pc:sldMkLst>
          <pc:docMk/>
          <pc:sldMk cId="2261275917" sldId="2145706524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83113EB-A4D7-45A8-8BE5-C41F3FEBBD3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DFB9E0A-25B5-402F-BF57-3135B972965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BA3352-8223-459E-885B-4FA12E254469}" type="datetimeFigureOut">
              <a:rPr lang="en-US" smtClean="0"/>
              <a:t>11/12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B587047-3E3D-404F-B6C5-68A76668211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226461-2C94-4F80-88C3-4B0318EC36A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62BFD7-CC61-438E-B9A6-8B62599216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82834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51ADD9-34AE-4ABB-BB32-95CDCD584F67}" type="datetimeFigureOut">
              <a:rPr lang="es-ES" smtClean="0"/>
              <a:t>12/11/2023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1FC854-5E3E-43C8-90BE-599547F44CD8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451217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10F9D7-360C-42F5-860E-D74D9B72AF81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45079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10F9D7-360C-42F5-860E-D74D9B72AF8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25655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1FC854-5E3E-43C8-90BE-599547F44CD8}" type="slidenum">
              <a:rPr lang="es-ES" smtClean="0"/>
              <a:t>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530396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1FC854-5E3E-43C8-90BE-599547F44CD8}" type="slidenum">
              <a:rPr lang="es-ES" smtClean="0"/>
              <a:t>6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911490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1FC854-5E3E-43C8-90BE-599547F44CD8}" type="slidenum">
              <a:rPr lang="es-ES" smtClean="0"/>
              <a:t>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590007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1FC854-5E3E-43C8-90BE-599547F44CD8}" type="slidenum">
              <a:rPr lang="es-ES" smtClean="0"/>
              <a:t>8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596687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[Video Starts (once the first phase room is clear)]</a:t>
            </a:r>
          </a:p>
          <a:p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10F9D7-360C-42F5-860E-D74D9B72AF81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7617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 descr="Imagen en blanco y negro&#10;&#10;Descripción generada automáticamente con confianza media">
            <a:extLst>
              <a:ext uri="{FF2B5EF4-FFF2-40B4-BE49-F238E27FC236}">
                <a16:creationId xmlns:a16="http://schemas.microsoft.com/office/drawing/2014/main" id="{74FE3D87-40DD-EC36-5331-C674142CDC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alphaModFix amt="14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7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68" y="0"/>
            <a:ext cx="12191665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5" name="TextBox 34">
            <a:extLst>
              <a:ext uri="{FF2B5EF4-FFF2-40B4-BE49-F238E27FC236}">
                <a16:creationId xmlns:a16="http://schemas.microsoft.com/office/drawing/2014/main" id="{E1795B75-E2E8-5DD1-53CB-C8D44366D62B}"/>
              </a:ext>
            </a:extLst>
          </p:cNvPr>
          <p:cNvSpPr txBox="1"/>
          <p:nvPr userDrawn="1"/>
        </p:nvSpPr>
        <p:spPr>
          <a:xfrm>
            <a:off x="939799" y="6349087"/>
            <a:ext cx="2985655" cy="204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55449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728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Maven Pro Medium" pitchFamily="2" charset="0"/>
              </a:rPr>
              <a:t>© 2023 Liberty Networks. Todos los derechos reservados</a:t>
            </a:r>
          </a:p>
        </p:txBody>
      </p:sp>
      <p:sp>
        <p:nvSpPr>
          <p:cNvPr id="7" name="Marcador de posición de imagen 8">
            <a:extLst>
              <a:ext uri="{FF2B5EF4-FFF2-40B4-BE49-F238E27FC236}">
                <a16:creationId xmlns:a16="http://schemas.microsoft.com/office/drawing/2014/main" id="{F6717FBB-6B05-983F-DE63-31AF904DA2C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68012" y="795158"/>
            <a:ext cx="4771090" cy="234735"/>
          </a:xfrm>
          <a:prstGeom prst="roundRect">
            <a:avLst>
              <a:gd name="adj" fmla="val 9306"/>
            </a:avLst>
          </a:prstGeom>
          <a:pattFill prst="pct5">
            <a:fgClr>
              <a:srgbClr val="0D0D0D"/>
            </a:fgClr>
            <a:bgClr>
              <a:schemeClr val="bg1">
                <a:lumMod val="95000"/>
              </a:schemeClr>
            </a:bgClr>
          </a:pattFill>
        </p:spPr>
        <p:txBody>
          <a:bodyPr/>
          <a:lstStyle>
            <a:lvl1pPr>
              <a:defRPr sz="1455" b="0">
                <a:latin typeface="Maven Pro Medium" pitchFamily="2" charset="0"/>
                <a:cs typeface="Calibri" panose="020F0502020204030204" pitchFamily="34" charset="0"/>
              </a:defRPr>
            </a:lvl1pPr>
          </a:lstStyle>
          <a:p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6037821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seño personalizado">
    <p:bg>
      <p:bgPr>
        <a:gradFill>
          <a:gsLst>
            <a:gs pos="0">
              <a:schemeClr val="accent2"/>
            </a:gs>
            <a:gs pos="91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34">
            <a:extLst>
              <a:ext uri="{FF2B5EF4-FFF2-40B4-BE49-F238E27FC236}">
                <a16:creationId xmlns:a16="http://schemas.microsoft.com/office/drawing/2014/main" id="{5500ABB0-D9D6-14F5-AFE7-BD8845F46643}"/>
              </a:ext>
            </a:extLst>
          </p:cNvPr>
          <p:cNvSpPr txBox="1"/>
          <p:nvPr userDrawn="1"/>
        </p:nvSpPr>
        <p:spPr>
          <a:xfrm>
            <a:off x="939799" y="6349087"/>
            <a:ext cx="2800927" cy="204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55449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728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ven Pro Medium" pitchFamily="2" charset="0"/>
              </a:rPr>
              <a:t>© 2023 Liberty Networks. Todos los derechos reservados</a:t>
            </a:r>
          </a:p>
        </p:txBody>
      </p:sp>
    </p:spTree>
    <p:extLst>
      <p:ext uri="{BB962C8B-B14F-4D97-AF65-F5344CB8AC3E}">
        <p14:creationId xmlns:p14="http://schemas.microsoft.com/office/powerpoint/2010/main" val="40952768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Patrón de fondo&#10;&#10;Descripción generada automáticamente">
            <a:extLst>
              <a:ext uri="{FF2B5EF4-FFF2-40B4-BE49-F238E27FC236}">
                <a16:creationId xmlns:a16="http://schemas.microsoft.com/office/drawing/2014/main" id="{1FD05402-4039-7A84-25EB-28DC3BEA8BB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-428" y="0"/>
            <a:ext cx="12192856" cy="6858000"/>
          </a:xfrm>
          <a:prstGeom prst="rect">
            <a:avLst/>
          </a:prstGeom>
        </p:spPr>
      </p:pic>
      <p:sp>
        <p:nvSpPr>
          <p:cNvPr id="3" name="TextBox 34">
            <a:extLst>
              <a:ext uri="{FF2B5EF4-FFF2-40B4-BE49-F238E27FC236}">
                <a16:creationId xmlns:a16="http://schemas.microsoft.com/office/drawing/2014/main" id="{27DC0BE1-A417-F914-7CF5-DC56A7988F80}"/>
              </a:ext>
            </a:extLst>
          </p:cNvPr>
          <p:cNvSpPr txBox="1"/>
          <p:nvPr userDrawn="1"/>
        </p:nvSpPr>
        <p:spPr>
          <a:xfrm>
            <a:off x="939800" y="6349087"/>
            <a:ext cx="2810164" cy="204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55449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728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aven Pro Medium" pitchFamily="2" charset="0"/>
              </a:rPr>
              <a:t>© 2023 Liberty Networks. Todos los derechos reservados</a:t>
            </a:r>
          </a:p>
        </p:txBody>
      </p:sp>
      <p:sp>
        <p:nvSpPr>
          <p:cNvPr id="8" name="Marcador de posición de imagen 8">
            <a:extLst>
              <a:ext uri="{FF2B5EF4-FFF2-40B4-BE49-F238E27FC236}">
                <a16:creationId xmlns:a16="http://schemas.microsoft.com/office/drawing/2014/main" id="{D9B369F2-0F4C-C6BA-0F68-E4C0EFEADD7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68011" y="3429000"/>
            <a:ext cx="6899163" cy="234735"/>
          </a:xfrm>
          <a:prstGeom prst="roundRect">
            <a:avLst>
              <a:gd name="adj" fmla="val 9306"/>
            </a:avLst>
          </a:prstGeom>
          <a:pattFill prst="pct5">
            <a:fgClr>
              <a:srgbClr val="0D0D0D"/>
            </a:fgClr>
            <a:bgClr>
              <a:schemeClr val="bg1">
                <a:lumMod val="95000"/>
              </a:schemeClr>
            </a:bgClr>
          </a:pattFill>
        </p:spPr>
        <p:txBody>
          <a:bodyPr/>
          <a:lstStyle>
            <a:lvl1pPr>
              <a:defRPr sz="1455" b="0">
                <a:latin typeface="Maven Pro Medium" pitchFamily="2" charset="0"/>
                <a:cs typeface="Calibri" panose="020F0502020204030204" pitchFamily="34" charset="0"/>
              </a:defRPr>
            </a:lvl1pPr>
          </a:lstStyle>
          <a:p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918470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 descr="Patrón de fondo&#10;&#10;Descripción generada automáticamente">
            <a:extLst>
              <a:ext uri="{FF2B5EF4-FFF2-40B4-BE49-F238E27FC236}">
                <a16:creationId xmlns:a16="http://schemas.microsoft.com/office/drawing/2014/main" id="{9F9692A6-22CE-3378-1F07-B22DFC86A0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28" y="0"/>
            <a:ext cx="12192856" cy="6858000"/>
          </a:xfrm>
          <a:prstGeom prst="rect">
            <a:avLst/>
          </a:prstGeom>
        </p:spPr>
      </p:pic>
      <p:sp>
        <p:nvSpPr>
          <p:cNvPr id="7" name="TextBox 34">
            <a:extLst>
              <a:ext uri="{FF2B5EF4-FFF2-40B4-BE49-F238E27FC236}">
                <a16:creationId xmlns:a16="http://schemas.microsoft.com/office/drawing/2014/main" id="{5BB34682-7711-A680-0A01-0A2027B44341}"/>
              </a:ext>
            </a:extLst>
          </p:cNvPr>
          <p:cNvSpPr txBox="1"/>
          <p:nvPr userDrawn="1"/>
        </p:nvSpPr>
        <p:spPr>
          <a:xfrm>
            <a:off x="939800" y="6349087"/>
            <a:ext cx="2727036" cy="204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55449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728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ven Pro Medium" pitchFamily="2" charset="0"/>
              </a:rPr>
              <a:t>© 2023 Liberty Networks. Todos los derechos reservados</a:t>
            </a:r>
          </a:p>
        </p:txBody>
      </p:sp>
    </p:spTree>
    <p:extLst>
      <p:ext uri="{BB962C8B-B14F-4D97-AF65-F5344CB8AC3E}">
        <p14:creationId xmlns:p14="http://schemas.microsoft.com/office/powerpoint/2010/main" val="4062999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Patrón de fondo&#10;&#10;Descripción generada automáticamente">
            <a:extLst>
              <a:ext uri="{FF2B5EF4-FFF2-40B4-BE49-F238E27FC236}">
                <a16:creationId xmlns:a16="http://schemas.microsoft.com/office/drawing/2014/main" id="{8D901676-F231-F293-B254-81092E4B03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-428" y="0"/>
            <a:ext cx="12192856" cy="6858000"/>
          </a:xfrm>
          <a:prstGeom prst="rect">
            <a:avLst/>
          </a:prstGeom>
        </p:spPr>
      </p:pic>
      <p:sp>
        <p:nvSpPr>
          <p:cNvPr id="3" name="TextBox 34">
            <a:extLst>
              <a:ext uri="{FF2B5EF4-FFF2-40B4-BE49-F238E27FC236}">
                <a16:creationId xmlns:a16="http://schemas.microsoft.com/office/drawing/2014/main" id="{4F248B4C-5886-5217-8EED-59603CE6C76A}"/>
              </a:ext>
            </a:extLst>
          </p:cNvPr>
          <p:cNvSpPr txBox="1"/>
          <p:nvPr userDrawn="1"/>
        </p:nvSpPr>
        <p:spPr>
          <a:xfrm>
            <a:off x="8811491" y="6349087"/>
            <a:ext cx="2815806" cy="204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55449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728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ven Pro Medium" pitchFamily="2" charset="0"/>
              </a:rPr>
              <a:t>© 2023 Liberty Networks. Todos los derechos reservados</a:t>
            </a:r>
          </a:p>
        </p:txBody>
      </p:sp>
    </p:spTree>
    <p:extLst>
      <p:ext uri="{BB962C8B-B14F-4D97-AF65-F5344CB8AC3E}">
        <p14:creationId xmlns:p14="http://schemas.microsoft.com/office/powerpoint/2010/main" val="4368285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Imagen en blanco y negro&#10;&#10;Descripción generada automáticamente con confianza media">
            <a:extLst>
              <a:ext uri="{FF2B5EF4-FFF2-40B4-BE49-F238E27FC236}">
                <a16:creationId xmlns:a16="http://schemas.microsoft.com/office/drawing/2014/main" id="{6E42C9C5-CCB7-C59F-05C1-6F8773433F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alphaModFix amt="14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7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68" y="0"/>
            <a:ext cx="12191665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3" name="TextBox 34">
            <a:extLst>
              <a:ext uri="{FF2B5EF4-FFF2-40B4-BE49-F238E27FC236}">
                <a16:creationId xmlns:a16="http://schemas.microsoft.com/office/drawing/2014/main" id="{8BFC52E6-8084-759C-5DC7-64A9C0E64F2A}"/>
              </a:ext>
            </a:extLst>
          </p:cNvPr>
          <p:cNvSpPr txBox="1"/>
          <p:nvPr userDrawn="1"/>
        </p:nvSpPr>
        <p:spPr>
          <a:xfrm>
            <a:off x="939800" y="6349087"/>
            <a:ext cx="2527582" cy="204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55449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28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Maven Pro Medium" pitchFamily="2" charset="0"/>
              </a:rPr>
              <a:t>© 2023 Liberty Networks, Inc. All Rights Reserved.</a:t>
            </a:r>
            <a:endParaRPr kumimoji="0" lang="en-US" sz="728" b="0" i="0" u="none" strike="noStrike" kern="1200" cap="none" spc="-91" normalizeH="0" baseline="0" noProof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Maven Pro Medium" pitchFamily="2" charset="0"/>
              <a:ea typeface="Nexa" charset="0"/>
              <a:cs typeface="Nexa Bold" panose="020B0604020202020204" charset="0"/>
            </a:endParaRPr>
          </a:p>
        </p:txBody>
      </p:sp>
      <p:sp>
        <p:nvSpPr>
          <p:cNvPr id="8" name="Marcador de posición de imagen 8">
            <a:extLst>
              <a:ext uri="{FF2B5EF4-FFF2-40B4-BE49-F238E27FC236}">
                <a16:creationId xmlns:a16="http://schemas.microsoft.com/office/drawing/2014/main" id="{13EC2D1A-9A96-F68E-6CB4-F6A41DE9C55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756242" y="767957"/>
            <a:ext cx="3646215" cy="234735"/>
          </a:xfrm>
          <a:prstGeom prst="roundRect">
            <a:avLst>
              <a:gd name="adj" fmla="val 9306"/>
            </a:avLst>
          </a:prstGeom>
          <a:pattFill prst="pct5">
            <a:fgClr>
              <a:srgbClr val="0D0D0D"/>
            </a:fgClr>
            <a:bgClr>
              <a:schemeClr val="bg1">
                <a:lumMod val="95000"/>
              </a:schemeClr>
            </a:bgClr>
          </a:pattFill>
        </p:spPr>
        <p:txBody>
          <a:bodyPr/>
          <a:lstStyle>
            <a:lvl1pPr>
              <a:defRPr sz="1455" b="0">
                <a:latin typeface="Maven Pro Medium" pitchFamily="2" charset="0"/>
              </a:defRPr>
            </a:lvl1pPr>
          </a:lstStyle>
          <a:p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7221667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166C5A5-4A1A-4477-D9E5-7CC14C07E0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937235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5" imgH="416" progId="TCLayout.ActiveDocument.1">
                  <p:embed/>
                </p:oleObj>
              </mc:Choice>
              <mc:Fallback>
                <p:oleObj name="think-cell Slide" r:id="rId9" imgW="415" imgH="41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166C5A5-4A1A-4477-D9E5-7CC14C07E0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5475294" y="1618485"/>
            <a:ext cx="3953735" cy="10772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000" b="1" i="0">
                <a:solidFill>
                  <a:srgbClr val="171717"/>
                </a:solidFill>
                <a:latin typeface="Inter"/>
                <a:cs typeface="Inter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967811" y="1172091"/>
            <a:ext cx="5294624" cy="192360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500" b="1" i="0">
                <a:solidFill>
                  <a:srgbClr val="171717"/>
                </a:solidFill>
                <a:latin typeface="Inter"/>
                <a:cs typeface="Inter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2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1" y="6377940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727083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18" r:id="rId2"/>
    <p:sldLayoutId id="2147483821" r:id="rId3"/>
    <p:sldLayoutId id="2147483828" r:id="rId4"/>
    <p:sldLayoutId id="2147483830" r:id="rId5"/>
    <p:sldLayoutId id="2147483831" r:id="rId6"/>
  </p:sldLayoutIdLst>
  <p:txStyles>
    <p:titleStyle>
      <a:lvl1pPr>
        <a:defRPr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0">
        <a:defRPr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image" Target="../media/image5.png"/><Relationship Id="rId7" Type="http://schemas.openxmlformats.org/officeDocument/2006/relationships/image" Target="../media/image9.sv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6" Type="http://schemas.openxmlformats.org/officeDocument/2006/relationships/image" Target="../media/image8.png"/><Relationship Id="rId5" Type="http://schemas.openxmlformats.org/officeDocument/2006/relationships/image" Target="../media/image7.jpeg"/><Relationship Id="rId4" Type="http://schemas.openxmlformats.org/officeDocument/2006/relationships/image" Target="../media/image6.sv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5" Type="http://schemas.openxmlformats.org/officeDocument/2006/relationships/image" Target="../media/image11.png"/><Relationship Id="rId4" Type="http://schemas.openxmlformats.org/officeDocument/2006/relationships/image" Target="../media/image9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image" Target="../media/image16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13" Type="http://schemas.openxmlformats.org/officeDocument/2006/relationships/image" Target="../media/image28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22.jpeg"/><Relationship Id="rId12" Type="http://schemas.openxmlformats.org/officeDocument/2006/relationships/image" Target="../media/image27.png"/><Relationship Id="rId17" Type="http://schemas.openxmlformats.org/officeDocument/2006/relationships/image" Target="../media/image32.svg"/><Relationship Id="rId2" Type="http://schemas.openxmlformats.org/officeDocument/2006/relationships/slideLayout" Target="../slideLayouts/slideLayout4.xml"/><Relationship Id="rId16" Type="http://schemas.openxmlformats.org/officeDocument/2006/relationships/image" Target="../media/image31.png"/><Relationship Id="rId1" Type="http://schemas.openxmlformats.org/officeDocument/2006/relationships/tags" Target="../tags/tag5.xml"/><Relationship Id="rId6" Type="http://schemas.openxmlformats.org/officeDocument/2006/relationships/image" Target="../media/image21.jpeg"/><Relationship Id="rId11" Type="http://schemas.openxmlformats.org/officeDocument/2006/relationships/image" Target="../media/image26.png"/><Relationship Id="rId5" Type="http://schemas.openxmlformats.org/officeDocument/2006/relationships/image" Target="../media/image20.svg"/><Relationship Id="rId15" Type="http://schemas.openxmlformats.org/officeDocument/2006/relationships/image" Target="../media/image30.png"/><Relationship Id="rId10" Type="http://schemas.openxmlformats.org/officeDocument/2006/relationships/image" Target="../media/image25.png"/><Relationship Id="rId4" Type="http://schemas.openxmlformats.org/officeDocument/2006/relationships/image" Target="../media/image19.png"/><Relationship Id="rId9" Type="http://schemas.openxmlformats.org/officeDocument/2006/relationships/image" Target="../media/image24.png"/><Relationship Id="rId14" Type="http://schemas.openxmlformats.org/officeDocument/2006/relationships/image" Target="../media/image2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34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6" Type="http://schemas.openxmlformats.org/officeDocument/2006/relationships/image" Target="../media/image33.jpeg"/><Relationship Id="rId5" Type="http://schemas.openxmlformats.org/officeDocument/2006/relationships/image" Target="../media/image20.svg"/><Relationship Id="rId4" Type="http://schemas.openxmlformats.org/officeDocument/2006/relationships/image" Target="../media/image19.png"/><Relationship Id="rId9" Type="http://schemas.openxmlformats.org/officeDocument/2006/relationships/image" Target="../media/image36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6" Type="http://schemas.openxmlformats.org/officeDocument/2006/relationships/image" Target="../media/image37.png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39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6" Type="http://schemas.openxmlformats.org/officeDocument/2006/relationships/image" Target="../media/image38.jpg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/>
            </a:gs>
            <a:gs pos="91000">
              <a:schemeClr val="accent2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3">
            <a:extLst>
              <a:ext uri="{FF2B5EF4-FFF2-40B4-BE49-F238E27FC236}">
                <a16:creationId xmlns:a16="http://schemas.microsoft.com/office/drawing/2014/main" id="{D522C676-3A36-729E-FD67-DDB8046853FA}"/>
              </a:ext>
            </a:extLst>
          </p:cNvPr>
          <p:cNvSpPr/>
          <p:nvPr/>
        </p:nvSpPr>
        <p:spPr>
          <a:xfrm>
            <a:off x="3646989" y="776992"/>
            <a:ext cx="7774665" cy="5331220"/>
          </a:xfrm>
          <a:prstGeom prst="roundRect">
            <a:avLst>
              <a:gd name="adj" fmla="val 3955"/>
            </a:avLst>
          </a:prstGeom>
          <a:solidFill>
            <a:schemeClr val="bg1"/>
          </a:solid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" name="Grupo 2">
            <a:extLst>
              <a:ext uri="{FF2B5EF4-FFF2-40B4-BE49-F238E27FC236}">
                <a16:creationId xmlns:a16="http://schemas.microsoft.com/office/drawing/2014/main" id="{26DFE9C7-0806-BCDC-F773-672963469028}"/>
              </a:ext>
            </a:extLst>
          </p:cNvPr>
          <p:cNvGrpSpPr/>
          <p:nvPr/>
        </p:nvGrpSpPr>
        <p:grpSpPr>
          <a:xfrm>
            <a:off x="7207045" y="4340337"/>
            <a:ext cx="3620741" cy="1549717"/>
            <a:chOff x="7207045" y="3926851"/>
            <a:chExt cx="3620741" cy="1549717"/>
          </a:xfrm>
        </p:grpSpPr>
        <p:pic>
          <p:nvPicPr>
            <p:cNvPr id="5" name="Gráfico 4">
              <a:extLst>
                <a:ext uri="{FF2B5EF4-FFF2-40B4-BE49-F238E27FC236}">
                  <a16:creationId xmlns:a16="http://schemas.microsoft.com/office/drawing/2014/main" id="{4F99BE6E-D578-6947-B9B3-6B4CEDFDCA9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370881" y="4495958"/>
              <a:ext cx="3456905" cy="802727"/>
            </a:xfrm>
            <a:prstGeom prst="rect">
              <a:avLst/>
            </a:prstGeom>
          </p:spPr>
        </p:pic>
        <p:sp>
          <p:nvSpPr>
            <p:cNvPr id="11" name="Rectángulo 10">
              <a:extLst>
                <a:ext uri="{FF2B5EF4-FFF2-40B4-BE49-F238E27FC236}">
                  <a16:creationId xmlns:a16="http://schemas.microsoft.com/office/drawing/2014/main" id="{F96696FB-CF09-0758-87CB-1E26440CFE48}"/>
                </a:ext>
              </a:extLst>
            </p:cNvPr>
            <p:cNvSpPr/>
            <p:nvPr/>
          </p:nvSpPr>
          <p:spPr>
            <a:xfrm>
              <a:off x="7207045" y="4375355"/>
              <a:ext cx="1268361" cy="1101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800" b="0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2" name="Rectángulo 11">
              <a:extLst>
                <a:ext uri="{FF2B5EF4-FFF2-40B4-BE49-F238E27FC236}">
                  <a16:creationId xmlns:a16="http://schemas.microsoft.com/office/drawing/2014/main" id="{043DB1DF-5396-5949-2542-CF2EB0BCDAC7}"/>
                </a:ext>
              </a:extLst>
            </p:cNvPr>
            <p:cNvSpPr/>
            <p:nvPr/>
          </p:nvSpPr>
          <p:spPr>
            <a:xfrm>
              <a:off x="7207045" y="3926851"/>
              <a:ext cx="3620741" cy="8957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800" b="0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pic>
        <p:nvPicPr>
          <p:cNvPr id="20" name="Marcador de posición de imagen 19" descr="Fuegos artificiales en el cielo&#10;&#10;Descripción generada automáticamente con confianza media">
            <a:extLst>
              <a:ext uri="{FF2B5EF4-FFF2-40B4-BE49-F238E27FC236}">
                <a16:creationId xmlns:a16="http://schemas.microsoft.com/office/drawing/2014/main" id="{AE55F18E-A2DE-709C-DE8A-E6E4A9C4A870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1782" y="776992"/>
            <a:ext cx="2878138" cy="5331220"/>
          </a:xfrm>
          <a:prstGeom prst="roundRect">
            <a:avLst>
              <a:gd name="adj" fmla="val 7842"/>
            </a:avLst>
          </a:prstGeom>
        </p:spPr>
      </p:pic>
      <p:pic>
        <p:nvPicPr>
          <p:cNvPr id="2" name="Gráfico 10">
            <a:extLst>
              <a:ext uri="{FF2B5EF4-FFF2-40B4-BE49-F238E27FC236}">
                <a16:creationId xmlns:a16="http://schemas.microsoft.com/office/drawing/2014/main" id="{D52D7B21-A767-E0A2-0A8F-66C6791AF832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894411" y="1178063"/>
            <a:ext cx="2078929" cy="473189"/>
          </a:xfrm>
          <a:prstGeom prst="rect">
            <a:avLst/>
          </a:prstGeom>
        </p:spPr>
      </p:pic>
      <p:sp>
        <p:nvSpPr>
          <p:cNvPr id="8" name="object 5">
            <a:extLst>
              <a:ext uri="{FF2B5EF4-FFF2-40B4-BE49-F238E27FC236}">
                <a16:creationId xmlns:a16="http://schemas.microsoft.com/office/drawing/2014/main" id="{95EA42DD-AFA3-494F-6E93-A7F8B4CAED68}"/>
              </a:ext>
            </a:extLst>
          </p:cNvPr>
          <p:cNvSpPr txBox="1"/>
          <p:nvPr/>
        </p:nvSpPr>
        <p:spPr>
          <a:xfrm>
            <a:off x="4036350" y="2020747"/>
            <a:ext cx="6031575" cy="1837280"/>
          </a:xfrm>
          <a:prstGeom prst="rect">
            <a:avLst/>
          </a:prstGeom>
        </p:spPr>
        <p:txBody>
          <a:bodyPr vert="horz" wrap="square" lIns="0" tIns="196768" rIns="0" bIns="0" rtlCol="0">
            <a:spAutoFit/>
          </a:bodyPr>
          <a:lstStyle/>
          <a:p>
            <a:pPr marL="7701" marR="3081" lvl="0" indent="0" algn="l" defTabSz="554492" rtl="0" eaLnBrk="1" fontAlgn="auto" latinLnBrk="0" hangingPunct="1">
              <a:lnSpc>
                <a:spcPct val="80000"/>
              </a:lnSpc>
              <a:spcBef>
                <a:spcPts val="154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4400" b="1" kern="0" dirty="0">
                <a:solidFill>
                  <a:srgbClr val="FF6000"/>
                </a:solidFill>
                <a:latin typeface="Maven Pro Black" panose="020B0604020202020204"/>
                <a:cs typeface="Calibri" panose="020F0502020204030204" pitchFamily="34" charset="0"/>
              </a:rPr>
              <a:t>Impacto de las Comunicaciones en la Educación</a:t>
            </a:r>
            <a:endParaRPr lang="es-AR" sz="4400" b="1" kern="0" dirty="0">
              <a:solidFill>
                <a:srgbClr val="FF6000"/>
              </a:solidFill>
              <a:latin typeface="Maven Pro Black" panose="020B0604020202020204"/>
              <a:cs typeface="Calibri" panose="020F0502020204030204" pitchFamily="34" charset="0"/>
            </a:endParaRPr>
          </a:p>
        </p:txBody>
      </p:sp>
      <p:sp>
        <p:nvSpPr>
          <p:cNvPr id="13" name="object 27">
            <a:extLst>
              <a:ext uri="{FF2B5EF4-FFF2-40B4-BE49-F238E27FC236}">
                <a16:creationId xmlns:a16="http://schemas.microsoft.com/office/drawing/2014/main" id="{17D315D3-2A42-2D12-4B69-CE77FD4F4BD1}"/>
              </a:ext>
            </a:extLst>
          </p:cNvPr>
          <p:cNvSpPr txBox="1"/>
          <p:nvPr/>
        </p:nvSpPr>
        <p:spPr>
          <a:xfrm>
            <a:off x="4036350" y="5536848"/>
            <a:ext cx="6105897" cy="255554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 marR="0" lvl="0" indent="0" algn="l" defTabSz="554492" rtl="0" eaLnBrk="1" fontAlgn="auto" latinLnBrk="0" hangingPunct="1">
              <a:lnSpc>
                <a:spcPct val="100000"/>
              </a:lnSpc>
              <a:spcBef>
                <a:spcPts val="7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Maven Pro Black" pitchFamily="2" charset="0"/>
                <a:ea typeface="Calibri" panose="020F0502020204030204" pitchFamily="34" charset="0"/>
                <a:cs typeface="Calibri" panose="020F0502020204030204" pitchFamily="34" charset="0"/>
              </a:rPr>
              <a:t>LIBERTYNETWORKS.COM</a:t>
            </a:r>
            <a:endParaRPr kumimoji="0" lang="es-CO" sz="1600" b="1" i="0" u="none" strike="noStrike" kern="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Maven Pro Black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object 27">
            <a:extLst>
              <a:ext uri="{FF2B5EF4-FFF2-40B4-BE49-F238E27FC236}">
                <a16:creationId xmlns:a16="http://schemas.microsoft.com/office/drawing/2014/main" id="{0961CEBA-BB6D-E762-8FE7-3DB40FABDDF0}"/>
              </a:ext>
            </a:extLst>
          </p:cNvPr>
          <p:cNvSpPr txBox="1"/>
          <p:nvPr/>
        </p:nvSpPr>
        <p:spPr>
          <a:xfrm>
            <a:off x="5698210" y="4210995"/>
            <a:ext cx="4740436" cy="674386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 marR="0" lvl="0" indent="0" algn="l" defTabSz="554492" rtl="0" eaLnBrk="1" fontAlgn="auto" latinLnBrk="0" hangingPunct="1">
              <a:lnSpc>
                <a:spcPct val="100000"/>
              </a:lnSpc>
              <a:spcBef>
                <a:spcPts val="7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ven Pro Black" pitchFamily="2" charset="0"/>
                <a:ea typeface="Calibri" panose="020F0502020204030204" pitchFamily="34" charset="0"/>
                <a:cs typeface="Calibri" panose="020F0502020204030204" pitchFamily="34" charset="0"/>
              </a:rPr>
              <a:t>Ramon Muñiz</a:t>
            </a:r>
          </a:p>
          <a:p>
            <a:pPr marL="7701" marR="0" lvl="0" indent="0" algn="l" defTabSz="554492" rtl="0" eaLnBrk="1" fontAlgn="auto" latinLnBrk="0" hangingPunct="1">
              <a:lnSpc>
                <a:spcPct val="100000"/>
              </a:lnSpc>
              <a:spcBef>
                <a:spcPts val="7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55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ven Pro Medium" pitchFamily="2" charset="0"/>
                <a:ea typeface="Calibri" panose="020F0502020204030204" pitchFamily="34" charset="0"/>
                <a:cs typeface="Calibri" panose="020F0502020204030204" pitchFamily="34" charset="0"/>
              </a:rPr>
              <a:t>Director, Business Development Wholesale</a:t>
            </a:r>
          </a:p>
          <a:p>
            <a:pPr marL="7701" marR="0" lvl="0" indent="0" algn="l" defTabSz="554492" rtl="0" eaLnBrk="1" fontAlgn="auto" latinLnBrk="0" hangingPunct="1">
              <a:lnSpc>
                <a:spcPct val="100000"/>
              </a:lnSpc>
              <a:spcBef>
                <a:spcPts val="7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aven Pro Medium" pitchFamily="2" charset="0"/>
                <a:ea typeface="Calibri" panose="020F0502020204030204" pitchFamily="34" charset="0"/>
                <a:cs typeface="Calibri" panose="020F0502020204030204" pitchFamily="34" charset="0"/>
              </a:rPr>
              <a:t>Liberty Networks</a:t>
            </a:r>
          </a:p>
        </p:txBody>
      </p:sp>
      <p:pic>
        <p:nvPicPr>
          <p:cNvPr id="6" name="Picture 5" descr="A person smiling for a picture&#10;&#10;Description automatically generated">
            <a:extLst>
              <a:ext uri="{FF2B5EF4-FFF2-40B4-BE49-F238E27FC236}">
                <a16:creationId xmlns:a16="http://schemas.microsoft.com/office/drawing/2014/main" id="{8FC3122A-632D-0584-A02B-0B0172410E9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4035" y="4158768"/>
            <a:ext cx="1027106" cy="821685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768385" y="767958"/>
            <a:ext cx="7758558" cy="3862444"/>
          </a:xfrm>
          <a:prstGeom prst="roundRect">
            <a:avLst>
              <a:gd name="adj" fmla="val 3562"/>
            </a:avLst>
          </a:pr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8" name="object 2">
            <a:extLst>
              <a:ext uri="{FF2B5EF4-FFF2-40B4-BE49-F238E27FC236}">
                <a16:creationId xmlns:a16="http://schemas.microsoft.com/office/drawing/2014/main" id="{0D568152-6949-C8E2-E29A-096BEC9E6407}"/>
              </a:ext>
            </a:extLst>
          </p:cNvPr>
          <p:cNvSpPr/>
          <p:nvPr/>
        </p:nvSpPr>
        <p:spPr>
          <a:xfrm>
            <a:off x="768385" y="4630401"/>
            <a:ext cx="7758558" cy="1477810"/>
          </a:xfrm>
          <a:prstGeom prst="roundRect">
            <a:avLst>
              <a:gd name="adj" fmla="val 13985"/>
            </a:avLst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2700000" scaled="1"/>
          </a:gradFill>
        </p:spPr>
        <p:txBody>
          <a:bodyPr wrap="square" lIns="0" tIns="0" rIns="0" bIns="0" rtlCol="0"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92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object 23"/>
          <p:cNvSpPr txBox="1">
            <a:spLocks noGrp="1"/>
          </p:cNvSpPr>
          <p:nvPr>
            <p:ph type="body" idx="4294967295"/>
          </p:nvPr>
        </p:nvSpPr>
        <p:spPr>
          <a:xfrm>
            <a:off x="914402" y="1760538"/>
            <a:ext cx="7299325" cy="933450"/>
          </a:xfrm>
          <a:prstGeom prst="rect">
            <a:avLst/>
          </a:prstGeom>
        </p:spPr>
        <p:txBody>
          <a:bodyPr vert="horz" wrap="square" lIns="0" tIns="192917" rIns="0" bIns="0" rtlCol="0">
            <a:spAutoFit/>
          </a:bodyPr>
          <a:lstStyle/>
          <a:p>
            <a:pPr marL="7701" marR="3081" algn="l">
              <a:lnSpc>
                <a:spcPct val="80000"/>
              </a:lnSpc>
              <a:spcBef>
                <a:spcPts val="1519"/>
              </a:spcBef>
            </a:pPr>
            <a:r>
              <a:rPr lang="es-CO" sz="6000" spc="-6">
                <a:solidFill>
                  <a:schemeClr val="accent1"/>
                </a:solidFill>
                <a:latin typeface="Maven Pro Medium" pitchFamily="2" charset="0"/>
                <a:cs typeface="Calibri" panose="020F0502020204030204" pitchFamily="34" charset="0"/>
              </a:rPr>
              <a:t>¡Gracias!</a:t>
            </a:r>
            <a:endParaRPr lang="es-CO" sz="6000" b="0" spc="-6">
              <a:solidFill>
                <a:schemeClr val="accent1"/>
              </a:solidFill>
              <a:latin typeface="Maven Pro Medium" pitchFamily="2" charset="0"/>
              <a:cs typeface="Calibri" panose="020F0502020204030204" pitchFamily="34" charset="0"/>
            </a:endParaRPr>
          </a:p>
        </p:txBody>
      </p:sp>
      <p:pic>
        <p:nvPicPr>
          <p:cNvPr id="32" name="Gráfico 10">
            <a:extLst>
              <a:ext uri="{FF2B5EF4-FFF2-40B4-BE49-F238E27FC236}">
                <a16:creationId xmlns:a16="http://schemas.microsoft.com/office/drawing/2014/main" id="{16CC1646-3250-51C3-6F50-93F70D04EE4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06856" y="5092479"/>
            <a:ext cx="2310387" cy="525872"/>
          </a:xfrm>
          <a:prstGeom prst="rect">
            <a:avLst/>
          </a:prstGeom>
        </p:spPr>
      </p:pic>
      <p:sp>
        <p:nvSpPr>
          <p:cNvPr id="4" name="object 27">
            <a:extLst>
              <a:ext uri="{FF2B5EF4-FFF2-40B4-BE49-F238E27FC236}">
                <a16:creationId xmlns:a16="http://schemas.microsoft.com/office/drawing/2014/main" id="{95F41620-D4F2-3F2F-A861-629E8B2CE54E}"/>
              </a:ext>
            </a:extLst>
          </p:cNvPr>
          <p:cNvSpPr txBox="1"/>
          <p:nvPr/>
        </p:nvSpPr>
        <p:spPr>
          <a:xfrm>
            <a:off x="1173413" y="5392208"/>
            <a:ext cx="6105897" cy="270622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 marR="0" lvl="0" indent="0" algn="l" defTabSz="554492" rtl="0" eaLnBrk="1" fontAlgn="auto" latinLnBrk="0" hangingPunct="1">
              <a:lnSpc>
                <a:spcPct val="100000"/>
              </a:lnSpc>
              <a:spcBef>
                <a:spcPts val="7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98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ven Pro Black" pitchFamily="2" charset="0"/>
                <a:ea typeface="Calibri" panose="020F0502020204030204" pitchFamily="34" charset="0"/>
                <a:cs typeface="Calibri" panose="020F0502020204030204" pitchFamily="34" charset="0"/>
              </a:rPr>
              <a:t>LIBERTYNETWORKS.COM</a:t>
            </a:r>
          </a:p>
        </p:txBody>
      </p:sp>
      <p:pic>
        <p:nvPicPr>
          <p:cNvPr id="3" name="Gráfico 2">
            <a:extLst>
              <a:ext uri="{FF2B5EF4-FFF2-40B4-BE49-F238E27FC236}">
                <a16:creationId xmlns:a16="http://schemas.microsoft.com/office/drawing/2014/main" id="{331BF3E3-1061-A4B7-487F-4AC9A5D32F4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68959" y="3337814"/>
            <a:ext cx="3456905" cy="802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5903522"/>
      </p:ext>
    </p:extLst>
  </p:cSld>
  <p:clrMapOvr>
    <a:masterClrMapping/>
  </p:clrMapOvr>
  <p:transition spd="slow">
    <p:push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C00E5116-244C-658F-D529-449384D7F384}"/>
              </a:ext>
            </a:extLst>
          </p:cNvPr>
          <p:cNvGrpSpPr/>
          <p:nvPr/>
        </p:nvGrpSpPr>
        <p:grpSpPr>
          <a:xfrm>
            <a:off x="770995" y="776992"/>
            <a:ext cx="10652621" cy="5331220"/>
            <a:chOff x="770995" y="776992"/>
            <a:chExt cx="10652621" cy="5331220"/>
          </a:xfrm>
        </p:grpSpPr>
        <p:sp>
          <p:nvSpPr>
            <p:cNvPr id="14" name="object 3">
              <a:extLst>
                <a:ext uri="{FF2B5EF4-FFF2-40B4-BE49-F238E27FC236}">
                  <a16:creationId xmlns:a16="http://schemas.microsoft.com/office/drawing/2014/main" id="{D6045064-87DA-FF5C-B1C7-DA43B710560C}"/>
                </a:ext>
              </a:extLst>
            </p:cNvPr>
            <p:cNvSpPr/>
            <p:nvPr/>
          </p:nvSpPr>
          <p:spPr>
            <a:xfrm>
              <a:off x="770995" y="776992"/>
              <a:ext cx="10652621" cy="5331220"/>
            </a:xfrm>
            <a:prstGeom prst="roundRect">
              <a:avLst>
                <a:gd name="adj" fmla="val 3517"/>
              </a:avLst>
            </a:prstGeom>
            <a:solidFill>
              <a:schemeClr val="bg1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5" name="Gráfico 10">
              <a:extLst>
                <a:ext uri="{FF2B5EF4-FFF2-40B4-BE49-F238E27FC236}">
                  <a16:creationId xmlns:a16="http://schemas.microsoft.com/office/drawing/2014/main" id="{C20F6FA1-9D6A-CFD1-4CBB-7BDE3F46D4A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853771" y="1297971"/>
              <a:ext cx="2078929" cy="473189"/>
            </a:xfrm>
            <a:prstGeom prst="rect">
              <a:avLst/>
            </a:prstGeom>
          </p:spPr>
        </p:pic>
      </p:grpSp>
      <p:pic>
        <p:nvPicPr>
          <p:cNvPr id="3" name="Imagen 2" descr="Dibujo de la tierra desde el espacio&#10;&#10;Descripción generada automáticamente con confianza media">
            <a:extLst>
              <a:ext uri="{FF2B5EF4-FFF2-40B4-BE49-F238E27FC236}">
                <a16:creationId xmlns:a16="http://schemas.microsoft.com/office/drawing/2014/main" id="{2BFA8DF1-8583-1E62-D7EB-C8FA6861762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05"/>
          <a:stretch/>
        </p:blipFill>
        <p:spPr>
          <a:xfrm>
            <a:off x="1402799" y="777240"/>
            <a:ext cx="9802652" cy="5341620"/>
          </a:xfrm>
          <a:prstGeom prst="rect">
            <a:avLst/>
          </a:prstGeom>
        </p:spPr>
      </p:pic>
      <p:sp>
        <p:nvSpPr>
          <p:cNvPr id="20" name="CuadroTexto 19">
            <a:extLst>
              <a:ext uri="{FF2B5EF4-FFF2-40B4-BE49-F238E27FC236}">
                <a16:creationId xmlns:a16="http://schemas.microsoft.com/office/drawing/2014/main" id="{CBFD4DC6-E09B-448C-4485-3374AAB25ABA}"/>
              </a:ext>
            </a:extLst>
          </p:cNvPr>
          <p:cNvSpPr txBox="1"/>
          <p:nvPr/>
        </p:nvSpPr>
        <p:spPr>
          <a:xfrm>
            <a:off x="768384" y="4511100"/>
            <a:ext cx="4421638" cy="156966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i="0" u="none" strike="noStrike" kern="0" cap="none" spc="0" normalizeH="0" baseline="0" noProof="0" dirty="0">
                <a:ln>
                  <a:noFill/>
                </a:ln>
                <a:solidFill>
                  <a:srgbClr val="FF6000"/>
                </a:solidFill>
                <a:effectLst/>
                <a:uLnTx/>
                <a:uFillTx/>
                <a:latin typeface="Maven Pro Black"/>
              </a:rPr>
              <a:t>Listos para responder 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i="0" u="none" strike="noStrike" kern="0" cap="none" spc="0" normalizeH="0" baseline="0" noProof="0" dirty="0">
                <a:ln>
                  <a:noFill/>
                </a:ln>
                <a:solidFill>
                  <a:srgbClr val="FF6000"/>
                </a:solidFill>
                <a:effectLst/>
                <a:uLnTx/>
                <a:uFillTx/>
                <a:latin typeface="Maven Pro Black"/>
              </a:rPr>
              <a:t>la necesidad cada vez mayor de conectividad digital con la mejor red</a:t>
            </a:r>
            <a:r>
              <a:rPr kumimoji="0" lang="es-CO" sz="2400" b="1" i="0" u="none" strike="noStrike" kern="0" cap="none" spc="0" normalizeH="0" baseline="0" noProof="0" dirty="0">
                <a:ln>
                  <a:noFill/>
                </a:ln>
                <a:solidFill>
                  <a:srgbClr val="FF6000"/>
                </a:solidFill>
                <a:effectLst/>
                <a:uLnTx/>
                <a:uFillTx/>
                <a:latin typeface="Maven Pro Black"/>
              </a:rPr>
              <a:t>es</a:t>
            </a:r>
            <a:r>
              <a:rPr lang="es-CO" sz="2400" b="1" kern="0" dirty="0">
                <a:solidFill>
                  <a:srgbClr val="FF6000"/>
                </a:solidFill>
                <a:latin typeface="Maven Pro Black"/>
              </a:rPr>
              <a:t>.</a:t>
            </a:r>
            <a:endParaRPr kumimoji="0" lang="es-CO" sz="2400" b="1" i="0" u="none" strike="noStrike" kern="0" cap="none" spc="0" normalizeH="0" baseline="0" noProof="0" dirty="0">
              <a:ln>
                <a:noFill/>
              </a:ln>
              <a:solidFill>
                <a:srgbClr val="FF6000"/>
              </a:solidFill>
              <a:effectLst/>
              <a:uLnTx/>
              <a:uFillTx/>
              <a:latin typeface="Maven Pro Black" pitchFamily="2" charset="0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CAF5D8B-FA51-A3A5-0B80-04015D861315}"/>
              </a:ext>
            </a:extLst>
          </p:cNvPr>
          <p:cNvSpPr txBox="1"/>
          <p:nvPr/>
        </p:nvSpPr>
        <p:spPr>
          <a:xfrm>
            <a:off x="9235605" y="2291891"/>
            <a:ext cx="2078929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s-ES" sz="1800" kern="0" dirty="0">
                <a:latin typeface="Maven Pro Medium" pitchFamily="2" charset="0"/>
              </a:rPr>
              <a:t>Somos la puerta de entrada a las Américas y estamos comprometidos a ampliar nuestra red e impulsar el crecimiento económico en la región.</a:t>
            </a:r>
            <a:endParaRPr lang="en-US" sz="1800" b="1" kern="0" dirty="0">
              <a:latin typeface="Maven Pro Black" pitchFamily="2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83254345"/>
      </p:ext>
    </p:extLst>
  </p:cSld>
  <p:clrMapOvr>
    <a:masterClrMapping/>
  </p:clrMapOvr>
  <p:transition spd="slow">
    <p:push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Patrón de fondo&#10;&#10;Descripción generada automáticamente">
            <a:extLst>
              <a:ext uri="{FF2B5EF4-FFF2-40B4-BE49-F238E27FC236}">
                <a16:creationId xmlns:a16="http://schemas.microsoft.com/office/drawing/2014/main" id="{C8FB4A24-47E0-6A54-7785-1B21234282B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-428" y="0"/>
            <a:ext cx="12192856" cy="6858000"/>
          </a:xfrm>
          <a:prstGeom prst="rect">
            <a:avLst/>
          </a:prstGeom>
        </p:spPr>
      </p:pic>
      <p:pic>
        <p:nvPicPr>
          <p:cNvPr id="13" name="Marcador de posición de imagen 12">
            <a:extLst>
              <a:ext uri="{FF2B5EF4-FFF2-40B4-BE49-F238E27FC236}">
                <a16:creationId xmlns:a16="http://schemas.microsoft.com/office/drawing/2014/main" id="{1F66426E-CCE1-4644-5245-A393F5FF3921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08" t="45406" r="1618" b="6460"/>
          <a:stretch/>
        </p:blipFill>
        <p:spPr>
          <a:xfrm>
            <a:off x="768350" y="3429000"/>
            <a:ext cx="6899275" cy="2679700"/>
          </a:xfr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0E18EA6C-EEA9-C6F4-2BA2-1CA6FF63D09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85544" y="749150"/>
            <a:ext cx="1837547" cy="1569047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FAC4A2B4-5345-F517-2B8F-FA8A26F0F75F}"/>
              </a:ext>
            </a:extLst>
          </p:cNvPr>
          <p:cNvGrpSpPr/>
          <p:nvPr/>
        </p:nvGrpSpPr>
        <p:grpSpPr>
          <a:xfrm>
            <a:off x="7667625" y="1254539"/>
            <a:ext cx="3751332" cy="4868905"/>
            <a:chOff x="7667063" y="2865119"/>
            <a:chExt cx="3751332" cy="3238327"/>
          </a:xfrm>
        </p:grpSpPr>
        <p:sp>
          <p:nvSpPr>
            <p:cNvPr id="4" name="object 4"/>
            <p:cNvSpPr/>
            <p:nvPr/>
          </p:nvSpPr>
          <p:spPr>
            <a:xfrm>
              <a:off x="7667063" y="2865119"/>
              <a:ext cx="3751332" cy="3238327"/>
            </a:xfrm>
            <a:prstGeom prst="roundRect">
              <a:avLst>
                <a:gd name="adj" fmla="val 6830"/>
              </a:avLst>
            </a:prstGeom>
            <a:solidFill>
              <a:schemeClr val="bg1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prstClr val="black"/>
                </a:solidFill>
              </a:endParaRPr>
            </a:p>
          </p:txBody>
        </p:sp>
        <p:sp>
          <p:nvSpPr>
            <p:cNvPr id="23" name="object 27">
              <a:extLst>
                <a:ext uri="{FF2B5EF4-FFF2-40B4-BE49-F238E27FC236}">
                  <a16:creationId xmlns:a16="http://schemas.microsoft.com/office/drawing/2014/main" id="{D6CC431A-B8E3-9FA3-FC0A-723079E6CE28}"/>
                </a:ext>
              </a:extLst>
            </p:cNvPr>
            <p:cNvSpPr txBox="1"/>
            <p:nvPr/>
          </p:nvSpPr>
          <p:spPr>
            <a:xfrm>
              <a:off x="8332452" y="3355310"/>
              <a:ext cx="2338137" cy="2471176"/>
            </a:xfrm>
            <a:prstGeom prst="rect">
              <a:avLst/>
            </a:prstGeom>
          </p:spPr>
          <p:txBody>
            <a:bodyPr vert="horz" wrap="square" lIns="0" tIns="9242" rIns="0" bIns="0" rtlCol="0">
              <a:spAutoFit/>
            </a:bodyPr>
            <a:lstStyle/>
            <a:p>
              <a:pPr marL="7701" defTabSz="554492">
                <a:spcBef>
                  <a:spcPts val="73"/>
                </a:spcBef>
              </a:pPr>
              <a:r>
                <a:rPr lang="en-US" sz="2000" b="1" kern="0" dirty="0">
                  <a:solidFill>
                    <a:srgbClr val="FF6000"/>
                  </a:solidFill>
                  <a:latin typeface="Maven Pro Black" pitchFamily="2" charset="77"/>
                  <a:ea typeface="Inter" panose="020B0502030000000004" pitchFamily="34" charset="0"/>
                  <a:cs typeface="Inter"/>
                </a:rPr>
                <a:t>Nuestra </a:t>
              </a:r>
              <a:r>
                <a:rPr lang="en-US" sz="2000" b="1" kern="0" dirty="0" err="1">
                  <a:solidFill>
                    <a:srgbClr val="FF6000"/>
                  </a:solidFill>
                  <a:latin typeface="Maven Pro Black" pitchFamily="2" charset="77"/>
                  <a:ea typeface="Inter" panose="020B0502030000000004" pitchFamily="34" charset="0"/>
                  <a:cs typeface="Inter"/>
                </a:rPr>
                <a:t>mision</a:t>
              </a:r>
              <a:r>
                <a:rPr lang="en-US" sz="2000" b="1" kern="0" dirty="0">
                  <a:solidFill>
                    <a:srgbClr val="FF6000"/>
                  </a:solidFill>
                  <a:latin typeface="Maven Pro Black" pitchFamily="2" charset="77"/>
                  <a:ea typeface="Inter" panose="020B0502030000000004" pitchFamily="34" charset="0"/>
                  <a:cs typeface="Inter"/>
                </a:rPr>
                <a:t>… </a:t>
              </a:r>
            </a:p>
            <a:p>
              <a:pPr marL="7701" defTabSz="554492">
                <a:spcBef>
                  <a:spcPts val="73"/>
                </a:spcBef>
              </a:pPr>
              <a:r>
                <a:rPr lang="es-ES" sz="2000" kern="0" dirty="0">
                  <a:solidFill>
                    <a:prstClr val="black"/>
                  </a:solidFill>
                  <a:latin typeface="Maven Pro Medium" pitchFamily="2" charset="0"/>
                  <a:ea typeface="Inter" panose="020B0502030000000004" pitchFamily="34" charset="0"/>
                  <a:cs typeface="Inter"/>
                </a:rPr>
                <a:t>convertirnos en la plataforma tecnológica de infraestructura preferida que </a:t>
              </a:r>
              <a:r>
                <a:rPr lang="es-ES" sz="2000" b="1" kern="0" dirty="0">
                  <a:solidFill>
                    <a:prstClr val="black"/>
                  </a:solidFill>
                  <a:latin typeface="Maven Pro Medium" pitchFamily="2" charset="0"/>
                  <a:ea typeface="Inter" panose="020B0502030000000004" pitchFamily="34" charset="0"/>
                  <a:cs typeface="Inter"/>
                </a:rPr>
                <a:t>atienda las necesidades de las empresas más innovadoras del Mundo, América Latina y el Caribe.</a:t>
              </a:r>
              <a:endParaRPr lang="en-US" sz="2000" b="1" kern="0" dirty="0">
                <a:solidFill>
                  <a:prstClr val="black"/>
                </a:solidFill>
                <a:latin typeface="Maven Pro Black" pitchFamily="2" charset="77"/>
                <a:ea typeface="Inter" panose="020B0502030000000004" pitchFamily="34" charset="0"/>
                <a:cs typeface="Inter"/>
              </a:endParaRPr>
            </a:p>
          </p:txBody>
        </p:sp>
      </p:grpSp>
      <p:sp>
        <p:nvSpPr>
          <p:cNvPr id="3" name="TextBox 34">
            <a:extLst>
              <a:ext uri="{FF2B5EF4-FFF2-40B4-BE49-F238E27FC236}">
                <a16:creationId xmlns:a16="http://schemas.microsoft.com/office/drawing/2014/main" id="{AFF8EABF-5F1F-51C6-F9A4-FA1CEEF3144A}"/>
              </a:ext>
            </a:extLst>
          </p:cNvPr>
          <p:cNvSpPr txBox="1"/>
          <p:nvPr/>
        </p:nvSpPr>
        <p:spPr>
          <a:xfrm>
            <a:off x="9099715" y="6349087"/>
            <a:ext cx="2527582" cy="204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55449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28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aven Pro Medium" pitchFamily="2" charset="0"/>
              </a:rPr>
              <a:t>© 2023 Liberty Networks, Inc. All Rights Reserved.</a:t>
            </a:r>
            <a:endParaRPr kumimoji="0" lang="en-US" sz="728" b="0" i="0" u="none" strike="noStrike" kern="1200" cap="none" spc="-91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aven Pro Medium" pitchFamily="2" charset="0"/>
              <a:ea typeface="Nexa" charset="0"/>
              <a:cs typeface="Nexa Bold" panose="020B060402020202020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push dir="u"/>
      </p:transition>
    </mc:Choice>
    <mc:Fallback xmlns="">
      <p:transition spd="slow">
        <p:push dir="u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ject 3">
            <a:extLst>
              <a:ext uri="{FF2B5EF4-FFF2-40B4-BE49-F238E27FC236}">
                <a16:creationId xmlns:a16="http://schemas.microsoft.com/office/drawing/2014/main" id="{D6045064-87DA-FF5C-B1C7-DA43B710560C}"/>
              </a:ext>
            </a:extLst>
          </p:cNvPr>
          <p:cNvSpPr/>
          <p:nvPr/>
        </p:nvSpPr>
        <p:spPr>
          <a:xfrm>
            <a:off x="3674411" y="776992"/>
            <a:ext cx="7749205" cy="5629124"/>
          </a:xfrm>
          <a:prstGeom prst="roundRect">
            <a:avLst>
              <a:gd name="adj" fmla="val 3517"/>
            </a:avLst>
          </a:prstGeom>
          <a:solidFill>
            <a:schemeClr val="bg1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48A5381-2EA0-DC09-7FC0-44B6B33357F1}"/>
              </a:ext>
            </a:extLst>
          </p:cNvPr>
          <p:cNvGrpSpPr/>
          <p:nvPr/>
        </p:nvGrpSpPr>
        <p:grpSpPr>
          <a:xfrm>
            <a:off x="4595706" y="5376469"/>
            <a:ext cx="6103828" cy="432102"/>
            <a:chOff x="4595706" y="5376469"/>
            <a:chExt cx="6103828" cy="432102"/>
          </a:xfrm>
        </p:grpSpPr>
        <p:sp>
          <p:nvSpPr>
            <p:cNvPr id="8" name="TextBox 6">
              <a:extLst>
                <a:ext uri="{FF2B5EF4-FFF2-40B4-BE49-F238E27FC236}">
                  <a16:creationId xmlns:a16="http://schemas.microsoft.com/office/drawing/2014/main" id="{453CAF47-1BE9-FBE6-B942-F6609B45BAF5}"/>
                </a:ext>
              </a:extLst>
            </p:cNvPr>
            <p:cNvSpPr txBox="1"/>
            <p:nvPr/>
          </p:nvSpPr>
          <p:spPr>
            <a:xfrm>
              <a:off x="4595706" y="5377684"/>
              <a:ext cx="1243857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b="1" dirty="0">
                  <a:latin typeface="Maven Pro Black" pitchFamily="2" charset="77"/>
                  <a:ea typeface="PP NeueBit" panose="00000400000000000000" pitchFamily="50" charset="-128"/>
                </a:rPr>
                <a:t>Explosive data growth</a:t>
              </a:r>
            </a:p>
          </p:txBody>
        </p:sp>
        <p:sp>
          <p:nvSpPr>
            <p:cNvPr id="9" name="TextBox 6">
              <a:extLst>
                <a:ext uri="{FF2B5EF4-FFF2-40B4-BE49-F238E27FC236}">
                  <a16:creationId xmlns:a16="http://schemas.microsoft.com/office/drawing/2014/main" id="{FEDD0DBC-C176-5172-1760-B32DDCE76F67}"/>
                </a:ext>
              </a:extLst>
            </p:cNvPr>
            <p:cNvSpPr txBox="1"/>
            <p:nvPr/>
          </p:nvSpPr>
          <p:spPr>
            <a:xfrm>
              <a:off x="6130532" y="5376469"/>
              <a:ext cx="1348108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b="1" dirty="0">
                  <a:latin typeface="Maven Pro Black" pitchFamily="2" charset="77"/>
                  <a:ea typeface="PP NeueBit" panose="00000400000000000000" pitchFamily="50" charset="-128"/>
                </a:rPr>
                <a:t>Real-time applications </a:t>
              </a:r>
            </a:p>
          </p:txBody>
        </p:sp>
        <p:sp>
          <p:nvSpPr>
            <p:cNvPr id="13" name="TextBox 6">
              <a:extLst>
                <a:ext uri="{FF2B5EF4-FFF2-40B4-BE49-F238E27FC236}">
                  <a16:creationId xmlns:a16="http://schemas.microsoft.com/office/drawing/2014/main" id="{54736BB0-CF28-8EC2-38D0-F4CB54F0815A}"/>
                </a:ext>
              </a:extLst>
            </p:cNvPr>
            <p:cNvSpPr txBox="1"/>
            <p:nvPr/>
          </p:nvSpPr>
          <p:spPr>
            <a:xfrm>
              <a:off x="7769610" y="5377684"/>
              <a:ext cx="1311331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b="1">
                  <a:latin typeface="Maven Pro Black" pitchFamily="2" charset="77"/>
                  <a:ea typeface="PP NeueBit" panose="00000400000000000000" pitchFamily="50" charset="-128"/>
                </a:rPr>
                <a:t>New AI/ML </a:t>
              </a:r>
            </a:p>
            <a:p>
              <a:pPr algn="ctr"/>
              <a:r>
                <a:rPr lang="en-US" sz="1400" b="1">
                  <a:latin typeface="Maven Pro Black" pitchFamily="2" charset="77"/>
                  <a:ea typeface="PP NeueBit" panose="00000400000000000000" pitchFamily="50" charset="-128"/>
                </a:rPr>
                <a:t>use cases</a:t>
              </a:r>
            </a:p>
          </p:txBody>
        </p:sp>
        <p:sp>
          <p:nvSpPr>
            <p:cNvPr id="17" name="TextBox 6">
              <a:extLst>
                <a:ext uri="{FF2B5EF4-FFF2-40B4-BE49-F238E27FC236}">
                  <a16:creationId xmlns:a16="http://schemas.microsoft.com/office/drawing/2014/main" id="{80413F76-504A-8FBA-3E25-DF75548600BE}"/>
                </a:ext>
              </a:extLst>
            </p:cNvPr>
            <p:cNvSpPr txBox="1"/>
            <p:nvPr/>
          </p:nvSpPr>
          <p:spPr>
            <a:xfrm>
              <a:off x="9442486" y="5377684"/>
              <a:ext cx="1257048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b="1">
                  <a:latin typeface="Maven Pro Black" pitchFamily="2" charset="77"/>
                  <a:ea typeface="PP NeueBit" panose="00000400000000000000" pitchFamily="50" charset="-128"/>
                </a:rPr>
                <a:t>Extended </a:t>
              </a:r>
              <a:br>
                <a:rPr lang="en-US" sz="1400" b="1">
                  <a:latin typeface="Maven Pro Black" pitchFamily="2" charset="77"/>
                  <a:ea typeface="PP NeueBit" panose="00000400000000000000" pitchFamily="50" charset="-128"/>
                </a:rPr>
              </a:br>
              <a:r>
                <a:rPr lang="en-US" sz="1400" b="1">
                  <a:latin typeface="Maven Pro Black" pitchFamily="2" charset="77"/>
                  <a:ea typeface="PP NeueBit" panose="00000400000000000000" pitchFamily="50" charset="-128"/>
                </a:rPr>
                <a:t>reach</a:t>
              </a:r>
            </a:p>
          </p:txBody>
        </p:sp>
      </p:grpSp>
      <p:grpSp>
        <p:nvGrpSpPr>
          <p:cNvPr id="75" name="Grupo 74">
            <a:extLst>
              <a:ext uri="{FF2B5EF4-FFF2-40B4-BE49-F238E27FC236}">
                <a16:creationId xmlns:a16="http://schemas.microsoft.com/office/drawing/2014/main" id="{10099A97-0013-6D90-8EFD-E08A8AF3AC43}"/>
              </a:ext>
            </a:extLst>
          </p:cNvPr>
          <p:cNvGrpSpPr/>
          <p:nvPr/>
        </p:nvGrpSpPr>
        <p:grpSpPr>
          <a:xfrm>
            <a:off x="5217635" y="4541781"/>
            <a:ext cx="4853375" cy="835903"/>
            <a:chOff x="5217635" y="4703466"/>
            <a:chExt cx="4853375" cy="835903"/>
          </a:xfrm>
        </p:grpSpPr>
        <p:cxnSp>
          <p:nvCxnSpPr>
            <p:cNvPr id="24" name="Connector: Curved 33">
              <a:extLst>
                <a:ext uri="{FF2B5EF4-FFF2-40B4-BE49-F238E27FC236}">
                  <a16:creationId xmlns:a16="http://schemas.microsoft.com/office/drawing/2014/main" id="{4E216510-73EB-49B9-A084-FD41ABED56B3}"/>
                </a:ext>
              </a:extLst>
            </p:cNvPr>
            <p:cNvCxnSpPr>
              <a:cxnSpLocks/>
              <a:endCxn id="8" idx="0"/>
            </p:cNvCxnSpPr>
            <p:nvPr/>
          </p:nvCxnSpPr>
          <p:spPr>
            <a:xfrm rot="10800000" flipV="1">
              <a:off x="5217635" y="4703469"/>
              <a:ext cx="2425202" cy="835900"/>
            </a:xfrm>
            <a:prstGeom prst="curvedConnector2">
              <a:avLst/>
            </a:prstGeom>
            <a:ln>
              <a:solidFill>
                <a:schemeClr val="bg1">
                  <a:lumMod val="75000"/>
                </a:schemeClr>
              </a:solidFill>
              <a:headEnd type="none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nector: Curved 37">
              <a:extLst>
                <a:ext uri="{FF2B5EF4-FFF2-40B4-BE49-F238E27FC236}">
                  <a16:creationId xmlns:a16="http://schemas.microsoft.com/office/drawing/2014/main" id="{C80D31F8-73E5-1634-3EA9-7F379BA0EEE0}"/>
                </a:ext>
              </a:extLst>
            </p:cNvPr>
            <p:cNvCxnSpPr>
              <a:cxnSpLocks/>
              <a:endCxn id="17" idx="0"/>
            </p:cNvCxnSpPr>
            <p:nvPr/>
          </p:nvCxnSpPr>
          <p:spPr>
            <a:xfrm>
              <a:off x="7642834" y="4703468"/>
              <a:ext cx="2428176" cy="835901"/>
            </a:xfrm>
            <a:prstGeom prst="curvedConnector2">
              <a:avLst/>
            </a:prstGeom>
            <a:ln>
              <a:solidFill>
                <a:schemeClr val="bg1">
                  <a:lumMod val="75000"/>
                </a:schemeClr>
              </a:solidFill>
              <a:headEnd type="none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nector: Curved 41">
              <a:extLst>
                <a:ext uri="{FF2B5EF4-FFF2-40B4-BE49-F238E27FC236}">
                  <a16:creationId xmlns:a16="http://schemas.microsoft.com/office/drawing/2014/main" id="{DE0E43D7-7F26-71B1-349B-5BCE6D0BD587}"/>
                </a:ext>
              </a:extLst>
            </p:cNvPr>
            <p:cNvCxnSpPr>
              <a:cxnSpLocks/>
              <a:endCxn id="9" idx="0"/>
            </p:cNvCxnSpPr>
            <p:nvPr/>
          </p:nvCxnSpPr>
          <p:spPr>
            <a:xfrm rot="10800000" flipV="1">
              <a:off x="6804586" y="4703470"/>
              <a:ext cx="838250" cy="834684"/>
            </a:xfrm>
            <a:prstGeom prst="curvedConnector2">
              <a:avLst/>
            </a:prstGeom>
            <a:ln>
              <a:solidFill>
                <a:schemeClr val="bg1">
                  <a:lumMod val="75000"/>
                </a:schemeClr>
              </a:solidFill>
              <a:headEnd type="none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Connector: Curved 44">
              <a:extLst>
                <a:ext uri="{FF2B5EF4-FFF2-40B4-BE49-F238E27FC236}">
                  <a16:creationId xmlns:a16="http://schemas.microsoft.com/office/drawing/2014/main" id="{A1CA6BE9-19BE-3AD0-3772-010B0D4BA0E2}"/>
                </a:ext>
              </a:extLst>
            </p:cNvPr>
            <p:cNvCxnSpPr>
              <a:cxnSpLocks/>
              <a:endCxn id="13" idx="0"/>
            </p:cNvCxnSpPr>
            <p:nvPr/>
          </p:nvCxnSpPr>
          <p:spPr>
            <a:xfrm>
              <a:off x="7587025" y="4703466"/>
              <a:ext cx="838251" cy="835903"/>
            </a:xfrm>
            <a:prstGeom prst="curvedConnector2">
              <a:avLst/>
            </a:prstGeom>
            <a:ln>
              <a:solidFill>
                <a:schemeClr val="bg1">
                  <a:lumMod val="75000"/>
                </a:schemeClr>
              </a:solidFill>
              <a:headEnd type="none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35A811CF-4DE0-AEA6-F134-48C7568B1A25}"/>
              </a:ext>
            </a:extLst>
          </p:cNvPr>
          <p:cNvGrpSpPr/>
          <p:nvPr/>
        </p:nvGrpSpPr>
        <p:grpSpPr>
          <a:xfrm>
            <a:off x="4595706" y="4018419"/>
            <a:ext cx="5901009" cy="423436"/>
            <a:chOff x="4595706" y="4018419"/>
            <a:chExt cx="5901009" cy="423436"/>
          </a:xfrm>
        </p:grpSpPr>
        <p:sp>
          <p:nvSpPr>
            <p:cNvPr id="61" name="Rectángulo: esquinas redondeadas 60">
              <a:extLst>
                <a:ext uri="{FF2B5EF4-FFF2-40B4-BE49-F238E27FC236}">
                  <a16:creationId xmlns:a16="http://schemas.microsoft.com/office/drawing/2014/main" id="{4F2AF6AB-2571-072C-08F8-B014FA8341DA}"/>
                </a:ext>
              </a:extLst>
            </p:cNvPr>
            <p:cNvSpPr/>
            <p:nvPr/>
          </p:nvSpPr>
          <p:spPr>
            <a:xfrm>
              <a:off x="4595706" y="4018419"/>
              <a:ext cx="5901009" cy="423436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  <p:sp>
          <p:nvSpPr>
            <p:cNvPr id="62" name="TextBox 24">
              <a:extLst>
                <a:ext uri="{FF2B5EF4-FFF2-40B4-BE49-F238E27FC236}">
                  <a16:creationId xmlns:a16="http://schemas.microsoft.com/office/drawing/2014/main" id="{23D8F413-F340-EA34-B55F-FE83C15F8BD4}"/>
                </a:ext>
              </a:extLst>
            </p:cNvPr>
            <p:cNvSpPr txBox="1"/>
            <p:nvPr/>
          </p:nvSpPr>
          <p:spPr>
            <a:xfrm>
              <a:off x="4662536" y="4076248"/>
              <a:ext cx="573989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 b="1" dirty="0">
                  <a:solidFill>
                    <a:schemeClr val="bg1"/>
                  </a:solidFill>
                  <a:latin typeface="Maven Pro Black" pitchFamily="2" charset="77"/>
                </a:rPr>
                <a:t>PERMITIENDO RESPONDER A LAS DEMANDAS DEL MERCADO</a:t>
              </a:r>
              <a:endParaRPr lang="en-US" sz="1400" b="1" dirty="0">
                <a:solidFill>
                  <a:schemeClr val="bg1"/>
                </a:solidFill>
                <a:latin typeface="Maven Pro Black" pitchFamily="2" charset="77"/>
              </a:endParaRPr>
            </a:p>
          </p:txBody>
        </p:sp>
      </p:grpSp>
      <p:grpSp>
        <p:nvGrpSpPr>
          <p:cNvPr id="72" name="Grupo 71">
            <a:extLst>
              <a:ext uri="{FF2B5EF4-FFF2-40B4-BE49-F238E27FC236}">
                <a16:creationId xmlns:a16="http://schemas.microsoft.com/office/drawing/2014/main" id="{398D30C4-7F46-3A85-D4E8-0E34215D81E5}"/>
              </a:ext>
            </a:extLst>
          </p:cNvPr>
          <p:cNvGrpSpPr/>
          <p:nvPr/>
        </p:nvGrpSpPr>
        <p:grpSpPr>
          <a:xfrm>
            <a:off x="5459398" y="3600470"/>
            <a:ext cx="4318909" cy="318021"/>
            <a:chOff x="5476332" y="2397070"/>
            <a:chExt cx="4318909" cy="1291719"/>
          </a:xfrm>
        </p:grpSpPr>
        <p:cxnSp>
          <p:nvCxnSpPr>
            <p:cNvPr id="73" name="Connector: Curved 27">
              <a:extLst>
                <a:ext uri="{FF2B5EF4-FFF2-40B4-BE49-F238E27FC236}">
                  <a16:creationId xmlns:a16="http://schemas.microsoft.com/office/drawing/2014/main" id="{FD903E57-3BF7-CFEF-3F75-65039E61FB7C}"/>
                </a:ext>
              </a:extLst>
            </p:cNvPr>
            <p:cNvCxnSpPr>
              <a:cxnSpLocks/>
              <a:stCxn id="46" idx="2"/>
            </p:cNvCxnSpPr>
            <p:nvPr/>
          </p:nvCxnSpPr>
          <p:spPr>
            <a:xfrm rot="16200000" flipH="1">
              <a:off x="5914597" y="1958805"/>
              <a:ext cx="1291716" cy="2168246"/>
            </a:xfrm>
            <a:prstGeom prst="curvedConnector2">
              <a:avLst/>
            </a:prstGeom>
            <a:ln>
              <a:solidFill>
                <a:schemeClr val="bg1">
                  <a:lumMod val="75000"/>
                </a:schemeClr>
              </a:solidFill>
              <a:headEnd type="none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Connector: Curved 27">
              <a:extLst>
                <a:ext uri="{FF2B5EF4-FFF2-40B4-BE49-F238E27FC236}">
                  <a16:creationId xmlns:a16="http://schemas.microsoft.com/office/drawing/2014/main" id="{2654D348-62FF-409B-1E43-ABD890F97F98}"/>
                </a:ext>
              </a:extLst>
            </p:cNvPr>
            <p:cNvCxnSpPr>
              <a:cxnSpLocks/>
              <a:stCxn id="53" idx="2"/>
            </p:cNvCxnSpPr>
            <p:nvPr/>
          </p:nvCxnSpPr>
          <p:spPr>
            <a:xfrm rot="5400000">
              <a:off x="8082418" y="1975966"/>
              <a:ext cx="1274988" cy="2150658"/>
            </a:xfrm>
            <a:prstGeom prst="curvedConnector2">
              <a:avLst/>
            </a:prstGeom>
            <a:ln>
              <a:solidFill>
                <a:schemeClr val="bg1">
                  <a:lumMod val="75000"/>
                </a:schemeClr>
              </a:solidFill>
              <a:headEnd type="none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C6DF9E63-64D6-1358-5E37-7F3FBA38BF8A}"/>
              </a:ext>
            </a:extLst>
          </p:cNvPr>
          <p:cNvGrpSpPr/>
          <p:nvPr/>
        </p:nvGrpSpPr>
        <p:grpSpPr>
          <a:xfrm>
            <a:off x="3402941" y="1082561"/>
            <a:ext cx="4112913" cy="2517908"/>
            <a:chOff x="4595706" y="1257484"/>
            <a:chExt cx="2882934" cy="1764920"/>
          </a:xfrm>
        </p:grpSpPr>
        <p:sp>
          <p:nvSpPr>
            <p:cNvPr id="46" name="Rectángulo: esquinas redondeadas 45">
              <a:extLst>
                <a:ext uri="{FF2B5EF4-FFF2-40B4-BE49-F238E27FC236}">
                  <a16:creationId xmlns:a16="http://schemas.microsoft.com/office/drawing/2014/main" id="{2904DEED-2CC2-2591-09AB-FA2D4D4EFB09}"/>
                </a:ext>
              </a:extLst>
            </p:cNvPr>
            <p:cNvSpPr/>
            <p:nvPr/>
          </p:nvSpPr>
          <p:spPr>
            <a:xfrm>
              <a:off x="4595706" y="1257484"/>
              <a:ext cx="2882934" cy="1764920"/>
            </a:xfrm>
            <a:prstGeom prst="roundRect">
              <a:avLst>
                <a:gd name="adj" fmla="val 7523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  <p:sp>
          <p:nvSpPr>
            <p:cNvPr id="47" name="TextBox 1">
              <a:extLst>
                <a:ext uri="{FF2B5EF4-FFF2-40B4-BE49-F238E27FC236}">
                  <a16:creationId xmlns:a16="http://schemas.microsoft.com/office/drawing/2014/main" id="{1DDFA719-1AA7-FA19-0556-77FF1F649167}"/>
                </a:ext>
              </a:extLst>
            </p:cNvPr>
            <p:cNvSpPr txBox="1"/>
            <p:nvPr/>
          </p:nvSpPr>
          <p:spPr>
            <a:xfrm>
              <a:off x="4748294" y="2500598"/>
              <a:ext cx="2661793" cy="3408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600" b="1" dirty="0" err="1">
                  <a:solidFill>
                    <a:schemeClr val="bg1"/>
                  </a:solidFill>
                  <a:latin typeface="Maven Pro SemiBold" pitchFamily="2" charset="77"/>
                </a:rPr>
                <a:t>Fortalezciendo</a:t>
              </a:r>
              <a:r>
                <a:rPr lang="en-US" sz="1600" b="1" dirty="0">
                  <a:solidFill>
                    <a:schemeClr val="bg1"/>
                  </a:solidFill>
                  <a:latin typeface="Maven Pro SemiBold" pitchFamily="2" charset="77"/>
                </a:rPr>
                <a:t> </a:t>
              </a:r>
              <a:r>
                <a:rPr lang="en-US" sz="1600" b="1" dirty="0" err="1">
                  <a:solidFill>
                    <a:schemeClr val="bg1"/>
                  </a:solidFill>
                  <a:latin typeface="Maven Pro SemiBold" pitchFamily="2" charset="77"/>
                </a:rPr>
                <a:t>nuestra</a:t>
              </a:r>
              <a:r>
                <a:rPr lang="en-US" sz="1600" b="1" dirty="0">
                  <a:solidFill>
                    <a:schemeClr val="bg1"/>
                  </a:solidFill>
                  <a:latin typeface="Maven Pro SemiBold" pitchFamily="2" charset="77"/>
                </a:rPr>
                <a:t> red. </a:t>
              </a:r>
              <a:r>
                <a:rPr lang="en-US" sz="1600" b="1" dirty="0" err="1">
                  <a:solidFill>
                    <a:schemeClr val="bg1"/>
                  </a:solidFill>
                  <a:latin typeface="Maven Pro SemiBold" pitchFamily="2" charset="77"/>
                </a:rPr>
                <a:t>Invirtiendo</a:t>
              </a:r>
              <a:r>
                <a:rPr lang="en-US" sz="1600" b="1" dirty="0">
                  <a:solidFill>
                    <a:schemeClr val="bg1"/>
                  </a:solidFill>
                  <a:latin typeface="Maven Pro SemiBold" pitchFamily="2" charset="77"/>
                </a:rPr>
                <a:t> </a:t>
              </a:r>
              <a:r>
                <a:rPr lang="en-US" sz="1600" b="1" dirty="0" err="1">
                  <a:solidFill>
                    <a:schemeClr val="bg1"/>
                  </a:solidFill>
                  <a:latin typeface="Maven Pro SemiBold" pitchFamily="2" charset="77"/>
                </a:rPr>
                <a:t>en</a:t>
              </a:r>
              <a:r>
                <a:rPr lang="en-US" sz="1600" b="1" dirty="0">
                  <a:solidFill>
                    <a:schemeClr val="bg1"/>
                  </a:solidFill>
                  <a:latin typeface="Maven Pro SemiBold" pitchFamily="2" charset="77"/>
                </a:rPr>
                <a:t> </a:t>
              </a:r>
              <a:r>
                <a:rPr lang="en-US" sz="1600" b="1" dirty="0" err="1">
                  <a:solidFill>
                    <a:schemeClr val="bg1"/>
                  </a:solidFill>
                  <a:latin typeface="Maven Pro SemiBold" pitchFamily="2" charset="77"/>
                </a:rPr>
                <a:t>entregas</a:t>
              </a:r>
              <a:r>
                <a:rPr lang="en-US" sz="1600" b="1" dirty="0">
                  <a:solidFill>
                    <a:schemeClr val="bg1"/>
                  </a:solidFill>
                  <a:latin typeface="Maven Pro SemiBold" pitchFamily="2" charset="77"/>
                </a:rPr>
                <a:t> JIT.</a:t>
              </a:r>
            </a:p>
          </p:txBody>
        </p:sp>
        <p:pic>
          <p:nvPicPr>
            <p:cNvPr id="3" name="Picture 2" descr="A picture containing electronics, electronic engineering, circuit, indoor&#10;&#10;Description automatically generated">
              <a:extLst>
                <a:ext uri="{FF2B5EF4-FFF2-40B4-BE49-F238E27FC236}">
                  <a16:creationId xmlns:a16="http://schemas.microsoft.com/office/drawing/2014/main" id="{7F0752E1-E95A-BA92-88B4-3954B0DC49E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3" t="19046" r="7400" b="19426"/>
            <a:stretch/>
          </p:blipFill>
          <p:spPr>
            <a:xfrm>
              <a:off x="4800330" y="1451987"/>
              <a:ext cx="2453384" cy="919868"/>
            </a:xfrm>
            <a:prstGeom prst="roundRect">
              <a:avLst/>
            </a:prstGeom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65CBA4B7-B141-1E00-976E-09327DD6E9D4}"/>
              </a:ext>
            </a:extLst>
          </p:cNvPr>
          <p:cNvGrpSpPr/>
          <p:nvPr/>
        </p:nvGrpSpPr>
        <p:grpSpPr>
          <a:xfrm>
            <a:off x="7680047" y="1082561"/>
            <a:ext cx="4196519" cy="2522028"/>
            <a:chOff x="7642835" y="1257483"/>
            <a:chExt cx="2853880" cy="1764919"/>
          </a:xfrm>
        </p:grpSpPr>
        <p:sp>
          <p:nvSpPr>
            <p:cNvPr id="53" name="Rectángulo: esquinas redondeadas 52">
              <a:extLst>
                <a:ext uri="{FF2B5EF4-FFF2-40B4-BE49-F238E27FC236}">
                  <a16:creationId xmlns:a16="http://schemas.microsoft.com/office/drawing/2014/main" id="{7E087DDE-496E-4790-1D53-9315E248E3BE}"/>
                </a:ext>
              </a:extLst>
            </p:cNvPr>
            <p:cNvSpPr/>
            <p:nvPr/>
          </p:nvSpPr>
          <p:spPr>
            <a:xfrm>
              <a:off x="7642835" y="1257483"/>
              <a:ext cx="2853880" cy="1764919"/>
            </a:xfrm>
            <a:prstGeom prst="roundRect">
              <a:avLst>
                <a:gd name="adj" fmla="val 7523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  <p:sp>
          <p:nvSpPr>
            <p:cNvPr id="54" name="TextBox 1">
              <a:extLst>
                <a:ext uri="{FF2B5EF4-FFF2-40B4-BE49-F238E27FC236}">
                  <a16:creationId xmlns:a16="http://schemas.microsoft.com/office/drawing/2014/main" id="{11A1741C-1E4C-4EBD-4676-3B6D45D355DE}"/>
                </a:ext>
              </a:extLst>
            </p:cNvPr>
            <p:cNvSpPr txBox="1"/>
            <p:nvPr/>
          </p:nvSpPr>
          <p:spPr>
            <a:xfrm>
              <a:off x="7706222" y="2500598"/>
              <a:ext cx="2727105" cy="3403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600" b="1" dirty="0" err="1">
                  <a:solidFill>
                    <a:schemeClr val="bg1"/>
                  </a:solidFill>
                  <a:latin typeface="Maven Pro SemiBold" pitchFamily="2" charset="77"/>
                </a:rPr>
                <a:t>Elevando</a:t>
              </a:r>
              <a:r>
                <a:rPr lang="en-US" sz="1600" b="1" dirty="0">
                  <a:solidFill>
                    <a:schemeClr val="bg1"/>
                  </a:solidFill>
                  <a:latin typeface="Maven Pro SemiBold" pitchFamily="2" charset="77"/>
                </a:rPr>
                <a:t> </a:t>
              </a:r>
              <a:r>
                <a:rPr lang="en-US" sz="1600" b="1" dirty="0" err="1">
                  <a:solidFill>
                    <a:schemeClr val="bg1"/>
                  </a:solidFill>
                  <a:latin typeface="Maven Pro SemiBold" pitchFamily="2" charset="77"/>
                </a:rPr>
                <a:t>nuestras</a:t>
              </a:r>
              <a:r>
                <a:rPr lang="en-US" sz="1600" b="1" dirty="0">
                  <a:solidFill>
                    <a:schemeClr val="bg1"/>
                  </a:solidFill>
                  <a:latin typeface="Maven Pro SemiBold" pitchFamily="2" charset="77"/>
                </a:rPr>
                <a:t> </a:t>
              </a:r>
              <a:r>
                <a:rPr lang="en-US" sz="1600" b="1" dirty="0" err="1">
                  <a:solidFill>
                    <a:schemeClr val="bg1"/>
                  </a:solidFill>
                  <a:latin typeface="Maven Pro SemiBold" pitchFamily="2" charset="77"/>
                </a:rPr>
                <a:t>soluciones</a:t>
              </a:r>
              <a:r>
                <a:rPr lang="en-US" sz="1600" b="1" dirty="0">
                  <a:solidFill>
                    <a:schemeClr val="bg1"/>
                  </a:solidFill>
                  <a:latin typeface="Maven Pro SemiBold" pitchFamily="2" charset="77"/>
                </a:rPr>
                <a:t> de </a:t>
              </a:r>
              <a:r>
                <a:rPr lang="en-US" sz="1600" b="1" dirty="0" err="1">
                  <a:solidFill>
                    <a:schemeClr val="bg1"/>
                  </a:solidFill>
                  <a:latin typeface="Maven Pro SemiBold" pitchFamily="2" charset="77"/>
                </a:rPr>
                <a:t>nube</a:t>
              </a:r>
              <a:r>
                <a:rPr lang="en-US" sz="1600" b="1" dirty="0">
                  <a:solidFill>
                    <a:schemeClr val="bg1"/>
                  </a:solidFill>
                  <a:latin typeface="Maven Pro SemiBold" pitchFamily="2" charset="77"/>
                </a:rPr>
                <a:t>, </a:t>
              </a:r>
              <a:r>
                <a:rPr lang="en-US" sz="1600" b="1" dirty="0" err="1">
                  <a:solidFill>
                    <a:schemeClr val="bg1"/>
                  </a:solidFill>
                  <a:latin typeface="Maven Pro SemiBold" pitchFamily="2" charset="77"/>
                </a:rPr>
                <a:t>centro</a:t>
              </a:r>
              <a:r>
                <a:rPr lang="en-US" sz="1600" b="1" dirty="0">
                  <a:solidFill>
                    <a:schemeClr val="bg1"/>
                  </a:solidFill>
                  <a:latin typeface="Maven Pro SemiBold" pitchFamily="2" charset="77"/>
                </a:rPr>
                <a:t> de </a:t>
              </a:r>
              <a:r>
                <a:rPr lang="en-US" sz="1600" b="1" dirty="0" err="1">
                  <a:solidFill>
                    <a:schemeClr val="bg1"/>
                  </a:solidFill>
                  <a:latin typeface="Maven Pro SemiBold" pitchFamily="2" charset="77"/>
                </a:rPr>
                <a:t>datos</a:t>
              </a:r>
              <a:r>
                <a:rPr lang="en-US" sz="1600" b="1" dirty="0">
                  <a:solidFill>
                    <a:schemeClr val="bg1"/>
                  </a:solidFill>
                  <a:latin typeface="Maven Pro SemiBold" pitchFamily="2" charset="77"/>
                </a:rPr>
                <a:t> y </a:t>
              </a:r>
              <a:r>
                <a:rPr lang="en-US" sz="1600" b="1" dirty="0" err="1">
                  <a:solidFill>
                    <a:schemeClr val="bg1"/>
                  </a:solidFill>
                  <a:latin typeface="Maven Pro SemiBold" pitchFamily="2" charset="77"/>
                </a:rPr>
                <a:t>ciberseguridad</a:t>
              </a:r>
              <a:endParaRPr lang="en-US" sz="1600" b="1" dirty="0">
                <a:solidFill>
                  <a:schemeClr val="bg1"/>
                </a:solidFill>
                <a:latin typeface="Maven Pro SemiBold" pitchFamily="2" charset="77"/>
              </a:endParaRPr>
            </a:p>
          </p:txBody>
        </p:sp>
        <p:pic>
          <p:nvPicPr>
            <p:cNvPr id="5" name="Picture 4" descr="A person holding a phone&#10;&#10;Description automatically generated with medium confidence">
              <a:extLst>
                <a:ext uri="{FF2B5EF4-FFF2-40B4-BE49-F238E27FC236}">
                  <a16:creationId xmlns:a16="http://schemas.microsoft.com/office/drawing/2014/main" id="{79AC93E8-F340-E4D6-A41C-B33D76A0B8C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83" t="25089" r="3269" b="9132"/>
            <a:stretch/>
          </p:blipFill>
          <p:spPr>
            <a:xfrm>
              <a:off x="7817327" y="1451987"/>
              <a:ext cx="2510900" cy="914605"/>
            </a:xfrm>
            <a:prstGeom prst="roundRect">
              <a:avLst>
                <a:gd name="adj" fmla="val 12556"/>
              </a:avLst>
            </a:prstGeom>
          </p:spPr>
        </p:pic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27E2E723-136D-111F-B71B-E8393460F8EF}"/>
              </a:ext>
            </a:extLst>
          </p:cNvPr>
          <p:cNvSpPr txBox="1"/>
          <p:nvPr/>
        </p:nvSpPr>
        <p:spPr>
          <a:xfrm>
            <a:off x="510596" y="4137655"/>
            <a:ext cx="27031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Maven Pro Black" panose="020B0604020202020204" charset="0"/>
                <a:cs typeface="Maven Pro Black" panose="020B0604020202020204" charset="0"/>
              </a:rPr>
              <a:t>ANTICIPAR</a:t>
            </a:r>
          </a:p>
        </p:txBody>
      </p:sp>
      <p:pic>
        <p:nvPicPr>
          <p:cNvPr id="2" name="Gráfico 49">
            <a:extLst>
              <a:ext uri="{FF2B5EF4-FFF2-40B4-BE49-F238E27FC236}">
                <a16:creationId xmlns:a16="http://schemas.microsoft.com/office/drawing/2014/main" id="{2BB7E339-BC35-AE68-2409-CBD1FE8C847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49118" y="703655"/>
            <a:ext cx="1877477" cy="160603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E9300B2-522D-589A-FA8B-A8D298FA8FE1}"/>
              </a:ext>
            </a:extLst>
          </p:cNvPr>
          <p:cNvSpPr txBox="1"/>
          <p:nvPr/>
        </p:nvSpPr>
        <p:spPr>
          <a:xfrm>
            <a:off x="510596" y="4660875"/>
            <a:ext cx="27031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Maven Pro Black" panose="020B0604020202020204" charset="0"/>
                <a:cs typeface="Maven Pro Black" panose="020B0604020202020204" charset="0"/>
              </a:rPr>
              <a:t>INOVA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6204C90-CB35-AFC3-4FFB-8361EC058AC3}"/>
              </a:ext>
            </a:extLst>
          </p:cNvPr>
          <p:cNvSpPr txBox="1"/>
          <p:nvPr/>
        </p:nvSpPr>
        <p:spPr>
          <a:xfrm>
            <a:off x="510596" y="5183048"/>
            <a:ext cx="27031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Maven Pro Black" panose="020B0604020202020204" charset="0"/>
                <a:cs typeface="Maven Pro Black" panose="020B0604020202020204" charset="0"/>
              </a:rPr>
              <a:t>INVERTI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DDB20F7-ABFC-0134-511F-E9637538E9EE}"/>
              </a:ext>
            </a:extLst>
          </p:cNvPr>
          <p:cNvSpPr txBox="1"/>
          <p:nvPr/>
        </p:nvSpPr>
        <p:spPr>
          <a:xfrm>
            <a:off x="3790239" y="1333713"/>
            <a:ext cx="3338316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 b="1" dirty="0">
                <a:solidFill>
                  <a:schemeClr val="bg1"/>
                </a:solidFill>
                <a:effectLst>
                  <a:outerShdw blurRad="347417" dist="38100" dir="2700000" algn="tl" rotWithShape="0">
                    <a:prstClr val="black">
                      <a:alpha val="40000"/>
                    </a:prstClr>
                  </a:outerShdw>
                </a:effectLst>
                <a:latin typeface="Maven Pro Black" panose="020B0604020202020204" charset="0"/>
                <a:cs typeface="Maven Pro Black" panose="020B0604020202020204" charset="0"/>
              </a:rPr>
              <a:t>$250m+ </a:t>
            </a:r>
          </a:p>
          <a:p>
            <a:pPr algn="ctr"/>
            <a:r>
              <a:rPr lang="en-US" sz="1600" dirty="0">
                <a:solidFill>
                  <a:schemeClr val="bg1"/>
                </a:solidFill>
                <a:effectLst>
                  <a:outerShdw blurRad="347417" dist="38100" dir="2700000" algn="tl" rotWithShape="0">
                    <a:prstClr val="black">
                      <a:alpha val="40000"/>
                    </a:prstClr>
                  </a:outerShdw>
                </a:effectLst>
                <a:latin typeface="Maven Pro Black" panose="020B0604020202020204" charset="0"/>
                <a:cs typeface="Maven Pro Black" panose="020B0604020202020204" charset="0"/>
              </a:rPr>
              <a:t>Inversion </a:t>
            </a:r>
            <a:r>
              <a:rPr lang="en-US" sz="1600" dirty="0" err="1">
                <a:solidFill>
                  <a:schemeClr val="bg1"/>
                </a:solidFill>
                <a:effectLst>
                  <a:outerShdw blurRad="347417" dist="38100" dir="2700000" algn="tl" rotWithShape="0">
                    <a:prstClr val="black">
                      <a:alpha val="40000"/>
                    </a:prstClr>
                  </a:outerShdw>
                </a:effectLst>
                <a:latin typeface="Maven Pro Black" panose="020B0604020202020204" charset="0"/>
                <a:cs typeface="Maven Pro Black" panose="020B0604020202020204" charset="0"/>
              </a:rPr>
              <a:t>en</a:t>
            </a:r>
            <a:r>
              <a:rPr lang="en-US" sz="1600" dirty="0">
                <a:solidFill>
                  <a:schemeClr val="bg1"/>
                </a:solidFill>
                <a:effectLst>
                  <a:outerShdw blurRad="347417" dist="38100" dir="2700000" algn="tl" rotWithShape="0">
                    <a:prstClr val="black">
                      <a:alpha val="40000"/>
                    </a:prstClr>
                  </a:outerShdw>
                </a:effectLst>
                <a:latin typeface="Maven Pro Black" panose="020B0604020202020204" charset="0"/>
                <a:cs typeface="Maven Pro Black" panose="020B0604020202020204" charset="0"/>
              </a:rPr>
              <a:t> </a:t>
            </a:r>
            <a:r>
              <a:rPr lang="en-US" sz="1600" dirty="0" err="1">
                <a:solidFill>
                  <a:schemeClr val="bg1"/>
                </a:solidFill>
                <a:effectLst>
                  <a:outerShdw blurRad="347417" dist="38100" dir="2700000" algn="tl" rotWithShape="0">
                    <a:prstClr val="black">
                      <a:alpha val="40000"/>
                    </a:prstClr>
                  </a:outerShdw>
                </a:effectLst>
                <a:latin typeface="Maven Pro Black" panose="020B0604020202020204" charset="0"/>
                <a:cs typeface="Maven Pro Black" panose="020B0604020202020204" charset="0"/>
              </a:rPr>
              <a:t>los</a:t>
            </a:r>
            <a:r>
              <a:rPr lang="en-US" sz="1600" dirty="0">
                <a:solidFill>
                  <a:schemeClr val="bg1"/>
                </a:solidFill>
                <a:effectLst>
                  <a:outerShdw blurRad="347417" dist="38100" dir="2700000" algn="tl" rotWithShape="0">
                    <a:prstClr val="black">
                      <a:alpha val="40000"/>
                    </a:prstClr>
                  </a:outerShdw>
                </a:effectLst>
                <a:latin typeface="Maven Pro Black" panose="020B0604020202020204" charset="0"/>
                <a:cs typeface="Maven Pro Black" panose="020B0604020202020204" charset="0"/>
              </a:rPr>
              <a:t> </a:t>
            </a:r>
            <a:r>
              <a:rPr lang="en-US" sz="1600" dirty="0" err="1">
                <a:solidFill>
                  <a:schemeClr val="bg1"/>
                </a:solidFill>
                <a:effectLst>
                  <a:outerShdw blurRad="347417" dist="38100" dir="2700000" algn="tl" rotWithShape="0">
                    <a:prstClr val="black">
                      <a:alpha val="40000"/>
                    </a:prstClr>
                  </a:outerShdw>
                </a:effectLst>
                <a:latin typeface="Maven Pro Black" panose="020B0604020202020204" charset="0"/>
                <a:cs typeface="Maven Pro Black" panose="020B0604020202020204" charset="0"/>
              </a:rPr>
              <a:t>proximos</a:t>
            </a:r>
            <a:r>
              <a:rPr lang="en-US" sz="1600" dirty="0">
                <a:solidFill>
                  <a:schemeClr val="bg1"/>
                </a:solidFill>
                <a:effectLst>
                  <a:outerShdw blurRad="347417" dist="38100" dir="2700000" algn="tl" rotWithShape="0">
                    <a:prstClr val="black">
                      <a:alpha val="40000"/>
                    </a:prstClr>
                  </a:outerShdw>
                </a:effectLst>
                <a:latin typeface="Maven Pro Black" panose="020B0604020202020204" charset="0"/>
                <a:cs typeface="Maven Pro Black" panose="020B0604020202020204" charset="0"/>
              </a:rPr>
              <a:t> 5 </a:t>
            </a:r>
            <a:r>
              <a:rPr lang="en-US" sz="1600" dirty="0" err="1">
                <a:solidFill>
                  <a:schemeClr val="bg1"/>
                </a:solidFill>
                <a:effectLst>
                  <a:outerShdw blurRad="347417" dist="38100" dir="2700000" algn="tl" rotWithShape="0">
                    <a:prstClr val="black">
                      <a:alpha val="40000"/>
                    </a:prstClr>
                  </a:outerShdw>
                </a:effectLst>
                <a:latin typeface="Maven Pro Black" panose="020B0604020202020204" charset="0"/>
                <a:cs typeface="Maven Pro Black" panose="020B0604020202020204" charset="0"/>
              </a:rPr>
              <a:t>años</a:t>
            </a:r>
            <a:endParaRPr lang="en-US" sz="1600" dirty="0">
              <a:solidFill>
                <a:schemeClr val="bg1"/>
              </a:solidFill>
              <a:effectLst>
                <a:outerShdw blurRad="347417" dist="38100" dir="2700000" algn="tl" rotWithShape="0">
                  <a:prstClr val="black">
                    <a:alpha val="40000"/>
                  </a:prstClr>
                </a:outerShdw>
              </a:effectLst>
              <a:latin typeface="Maven Pro Black" panose="020B0604020202020204" charset="0"/>
              <a:cs typeface="Maven Pro Black" panose="020B0604020202020204" charset="0"/>
            </a:endParaRPr>
          </a:p>
        </p:txBody>
      </p:sp>
    </p:spTree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000"/>
                            </p:stCondLst>
                            <p:childTnLst>
                              <p:par>
                                <p:cTn id="1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500"/>
                            </p:stCondLst>
                            <p:childTnLst>
                              <p:par>
                                <p:cTn id="21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500"/>
                            </p:stCondLst>
                            <p:childTnLst>
                              <p:par>
                                <p:cTn id="26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1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4500"/>
                            </p:stCondLst>
                            <p:childTnLst>
                              <p:par>
                                <p:cTn id="30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500"/>
                            </p:stCondLst>
                            <p:childTnLst>
                              <p:par>
                                <p:cTn id="36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8" dur="1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6500"/>
                            </p:stCondLst>
                            <p:childTnLst>
                              <p:par>
                                <p:cTn id="40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7500"/>
                            </p:stCondLst>
                            <p:childTnLst>
                              <p:par>
                                <p:cTn id="46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8000"/>
                            </p:stCondLst>
                            <p:childTnLst>
                              <p:par>
                                <p:cTn id="51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8500"/>
                            </p:stCondLst>
                            <p:childTnLst>
                              <p:par>
                                <p:cTn id="56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/>
      <p:bldP spid="4" grpId="0"/>
      <p:bldP spid="16" grpId="0"/>
      <p:bldP spid="18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áfico 10">
            <a:extLst>
              <a:ext uri="{FF2B5EF4-FFF2-40B4-BE49-F238E27FC236}">
                <a16:creationId xmlns:a16="http://schemas.microsoft.com/office/drawing/2014/main" id="{A3CDC9F9-188C-E5D4-49EC-2E6B5DCC3DA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821139" y="1237130"/>
            <a:ext cx="2078929" cy="473189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FE041980-54FC-C9C3-311F-F10AA1A170DB}"/>
              </a:ext>
            </a:extLst>
          </p:cNvPr>
          <p:cNvGrpSpPr/>
          <p:nvPr/>
        </p:nvGrpSpPr>
        <p:grpSpPr>
          <a:xfrm>
            <a:off x="5154155" y="881112"/>
            <a:ext cx="2078929" cy="2305302"/>
            <a:chOff x="6399333" y="479115"/>
            <a:chExt cx="2497212" cy="2769132"/>
          </a:xfrm>
        </p:grpSpPr>
        <p:pic>
          <p:nvPicPr>
            <p:cNvPr id="12" name="Picture 11" descr="A picture containing person, hand&#10;&#10;Description automatically generated">
              <a:extLst>
                <a:ext uri="{FF2B5EF4-FFF2-40B4-BE49-F238E27FC236}">
                  <a16:creationId xmlns:a16="http://schemas.microsoft.com/office/drawing/2014/main" id="{DBDE44C7-CD9C-8CCA-587D-78542E6C926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522" t="594" r="26522" b="1569"/>
            <a:stretch>
              <a:fillRect/>
            </a:stretch>
          </p:blipFill>
          <p:spPr>
            <a:xfrm>
              <a:off x="6399333" y="479115"/>
              <a:ext cx="2497212" cy="2769132"/>
            </a:xfrm>
            <a:custGeom>
              <a:avLst/>
              <a:gdLst>
                <a:gd name="connsiteX0" fmla="*/ 297725 w 2392325"/>
                <a:gd name="connsiteY0" fmla="*/ 0 h 2652824"/>
                <a:gd name="connsiteX1" fmla="*/ 2094600 w 2392325"/>
                <a:gd name="connsiteY1" fmla="*/ 0 h 2652824"/>
                <a:gd name="connsiteX2" fmla="*/ 2392325 w 2392325"/>
                <a:gd name="connsiteY2" fmla="*/ 297725 h 2652824"/>
                <a:gd name="connsiteX3" fmla="*/ 2392325 w 2392325"/>
                <a:gd name="connsiteY3" fmla="*/ 2355099 h 2652824"/>
                <a:gd name="connsiteX4" fmla="*/ 2094600 w 2392325"/>
                <a:gd name="connsiteY4" fmla="*/ 2652824 h 2652824"/>
                <a:gd name="connsiteX5" fmla="*/ 297725 w 2392325"/>
                <a:gd name="connsiteY5" fmla="*/ 2652824 h 2652824"/>
                <a:gd name="connsiteX6" fmla="*/ 0 w 2392325"/>
                <a:gd name="connsiteY6" fmla="*/ 2355099 h 2652824"/>
                <a:gd name="connsiteX7" fmla="*/ 0 w 2392325"/>
                <a:gd name="connsiteY7" fmla="*/ 297725 h 2652824"/>
                <a:gd name="connsiteX8" fmla="*/ 297725 w 2392325"/>
                <a:gd name="connsiteY8" fmla="*/ 0 h 2652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92325" h="2652824">
                  <a:moveTo>
                    <a:pt x="297725" y="0"/>
                  </a:moveTo>
                  <a:lnTo>
                    <a:pt x="2094600" y="0"/>
                  </a:lnTo>
                  <a:cubicBezTo>
                    <a:pt x="2259029" y="0"/>
                    <a:pt x="2392325" y="133296"/>
                    <a:pt x="2392325" y="297725"/>
                  </a:cubicBezTo>
                  <a:lnTo>
                    <a:pt x="2392325" y="2355099"/>
                  </a:lnTo>
                  <a:cubicBezTo>
                    <a:pt x="2392325" y="2519528"/>
                    <a:pt x="2259029" y="2652824"/>
                    <a:pt x="2094600" y="2652824"/>
                  </a:cubicBezTo>
                  <a:lnTo>
                    <a:pt x="297725" y="2652824"/>
                  </a:lnTo>
                  <a:cubicBezTo>
                    <a:pt x="133296" y="2652824"/>
                    <a:pt x="0" y="2519528"/>
                    <a:pt x="0" y="2355099"/>
                  </a:cubicBezTo>
                  <a:lnTo>
                    <a:pt x="0" y="297725"/>
                  </a:lnTo>
                  <a:cubicBezTo>
                    <a:pt x="0" y="133296"/>
                    <a:pt x="133296" y="0"/>
                    <a:pt x="297725" y="0"/>
                  </a:cubicBezTo>
                  <a:close/>
                </a:path>
              </a:pathLst>
            </a:cu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EC3A991D-B51A-3335-C02B-438FD27A3C82}"/>
                </a:ext>
              </a:extLst>
            </p:cNvPr>
            <p:cNvSpPr txBox="1"/>
            <p:nvPr/>
          </p:nvSpPr>
          <p:spPr>
            <a:xfrm>
              <a:off x="7093083" y="1402016"/>
              <a:ext cx="1109712" cy="9242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4400" b="1" dirty="0">
                  <a:solidFill>
                    <a:schemeClr val="bg1"/>
                  </a:solidFill>
                  <a:effectLst>
                    <a:outerShdw blurRad="47625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Maven Pro Black" panose="020B0604020202020204" charset="0"/>
                  <a:cs typeface="Maven Pro Black" panose="020B0604020202020204" charset="0"/>
                </a:rPr>
                <a:t>AI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F0CED84E-8D66-EAF1-367A-AD60267203A5}"/>
              </a:ext>
            </a:extLst>
          </p:cNvPr>
          <p:cNvGrpSpPr/>
          <p:nvPr/>
        </p:nvGrpSpPr>
        <p:grpSpPr>
          <a:xfrm>
            <a:off x="7897640" y="3783803"/>
            <a:ext cx="2196815" cy="2208476"/>
            <a:chOff x="6743698" y="3540641"/>
            <a:chExt cx="2392325" cy="2652824"/>
          </a:xfrm>
        </p:grpSpPr>
        <p:pic>
          <p:nvPicPr>
            <p:cNvPr id="10" name="Picture 9" descr="A picture containing text, screenshot, graphic design, fractal art&#10;&#10;Description automatically generated">
              <a:extLst>
                <a:ext uri="{FF2B5EF4-FFF2-40B4-BE49-F238E27FC236}">
                  <a16:creationId xmlns:a16="http://schemas.microsoft.com/office/drawing/2014/main" id="{A639408C-AA07-0C78-BA40-C053FC067DE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8531" r="3751" b="1344"/>
            <a:stretch>
              <a:fillRect/>
            </a:stretch>
          </p:blipFill>
          <p:spPr>
            <a:xfrm>
              <a:off x="6743698" y="3540641"/>
              <a:ext cx="2392325" cy="2652824"/>
            </a:xfrm>
            <a:custGeom>
              <a:avLst/>
              <a:gdLst>
                <a:gd name="connsiteX0" fmla="*/ 271146 w 2392325"/>
                <a:gd name="connsiteY0" fmla="*/ 0 h 2652824"/>
                <a:gd name="connsiteX1" fmla="*/ 2121179 w 2392325"/>
                <a:gd name="connsiteY1" fmla="*/ 0 h 2652824"/>
                <a:gd name="connsiteX2" fmla="*/ 2392325 w 2392325"/>
                <a:gd name="connsiteY2" fmla="*/ 271146 h 2652824"/>
                <a:gd name="connsiteX3" fmla="*/ 2392325 w 2392325"/>
                <a:gd name="connsiteY3" fmla="*/ 2381678 h 2652824"/>
                <a:gd name="connsiteX4" fmla="*/ 2121179 w 2392325"/>
                <a:gd name="connsiteY4" fmla="*/ 2652824 h 2652824"/>
                <a:gd name="connsiteX5" fmla="*/ 271146 w 2392325"/>
                <a:gd name="connsiteY5" fmla="*/ 2652824 h 2652824"/>
                <a:gd name="connsiteX6" fmla="*/ 0 w 2392325"/>
                <a:gd name="connsiteY6" fmla="*/ 2381678 h 2652824"/>
                <a:gd name="connsiteX7" fmla="*/ 0 w 2392325"/>
                <a:gd name="connsiteY7" fmla="*/ 271146 h 2652824"/>
                <a:gd name="connsiteX8" fmla="*/ 271146 w 2392325"/>
                <a:gd name="connsiteY8" fmla="*/ 0 h 2652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92325" h="2652824">
                  <a:moveTo>
                    <a:pt x="271146" y="0"/>
                  </a:moveTo>
                  <a:lnTo>
                    <a:pt x="2121179" y="0"/>
                  </a:lnTo>
                  <a:cubicBezTo>
                    <a:pt x="2270929" y="0"/>
                    <a:pt x="2392325" y="121396"/>
                    <a:pt x="2392325" y="271146"/>
                  </a:cubicBezTo>
                  <a:lnTo>
                    <a:pt x="2392325" y="2381678"/>
                  </a:lnTo>
                  <a:cubicBezTo>
                    <a:pt x="2392325" y="2531428"/>
                    <a:pt x="2270929" y="2652824"/>
                    <a:pt x="2121179" y="2652824"/>
                  </a:cubicBezTo>
                  <a:lnTo>
                    <a:pt x="271146" y="2652824"/>
                  </a:lnTo>
                  <a:cubicBezTo>
                    <a:pt x="121396" y="2652824"/>
                    <a:pt x="0" y="2531428"/>
                    <a:pt x="0" y="2381678"/>
                  </a:cubicBezTo>
                  <a:lnTo>
                    <a:pt x="0" y="271146"/>
                  </a:lnTo>
                  <a:cubicBezTo>
                    <a:pt x="0" y="121396"/>
                    <a:pt x="121396" y="0"/>
                    <a:pt x="271146" y="0"/>
                  </a:cubicBezTo>
                  <a:close/>
                </a:path>
              </a:pathLst>
            </a:cu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75958702-9562-7FFC-8017-F05212D96D5F}"/>
                </a:ext>
              </a:extLst>
            </p:cNvPr>
            <p:cNvSpPr txBox="1"/>
            <p:nvPr/>
          </p:nvSpPr>
          <p:spPr>
            <a:xfrm>
              <a:off x="7212307" y="4328443"/>
              <a:ext cx="1433624" cy="11170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800" b="1" dirty="0">
                  <a:solidFill>
                    <a:schemeClr val="bg1"/>
                  </a:solidFill>
                  <a:effectLst>
                    <a:outerShdw blurRad="383612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Maven Pro Black" panose="020B0604020202020204" charset="0"/>
                  <a:cs typeface="Maven Pro Black" panose="020B0604020202020204" charset="0"/>
                </a:rPr>
                <a:t>BIG </a:t>
              </a:r>
              <a:r>
                <a:rPr lang="en-US" sz="2000" dirty="0">
                  <a:solidFill>
                    <a:schemeClr val="bg1"/>
                  </a:solidFill>
                  <a:effectLst>
                    <a:outerShdw blurRad="383612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Maven Pro Black" panose="020B0604020202020204" charset="0"/>
                  <a:cs typeface="Maven Pro Black" panose="020B0604020202020204" charset="0"/>
                </a:rPr>
                <a:t>DATA</a:t>
              </a:r>
              <a:endParaRPr lang="en-US" sz="2800" dirty="0">
                <a:solidFill>
                  <a:schemeClr val="bg1"/>
                </a:solidFill>
                <a:effectLst>
                  <a:outerShdw blurRad="383612" dist="38100" dir="2700000" algn="tl" rotWithShape="0">
                    <a:prstClr val="black">
                      <a:alpha val="40000"/>
                    </a:prstClr>
                  </a:outerShdw>
                </a:effectLst>
                <a:latin typeface="Maven Pro Black" panose="020B0604020202020204" charset="0"/>
                <a:cs typeface="Maven Pro Black" panose="020B0604020202020204" charset="0"/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F6E81027-7F7A-DD60-9159-A705AB366273}"/>
              </a:ext>
            </a:extLst>
          </p:cNvPr>
          <p:cNvGrpSpPr/>
          <p:nvPr/>
        </p:nvGrpSpPr>
        <p:grpSpPr>
          <a:xfrm>
            <a:off x="1194481" y="3783803"/>
            <a:ext cx="1991611" cy="2208476"/>
            <a:chOff x="9110330" y="648585"/>
            <a:chExt cx="2392325" cy="2652821"/>
          </a:xfrm>
        </p:grpSpPr>
        <p:pic>
          <p:nvPicPr>
            <p:cNvPr id="6" name="Picture 5" descr="A person wearing headphones and a headset&#10;&#10;Description automatically generated with low confidence">
              <a:extLst>
                <a:ext uri="{FF2B5EF4-FFF2-40B4-BE49-F238E27FC236}">
                  <a16:creationId xmlns:a16="http://schemas.microsoft.com/office/drawing/2014/main" id="{C8B8E934-4ADC-B13B-0D66-CF2680B660A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637" t="3857" r="52664"/>
            <a:stretch>
              <a:fillRect/>
            </a:stretch>
          </p:blipFill>
          <p:spPr>
            <a:xfrm>
              <a:off x="9110330" y="648585"/>
              <a:ext cx="2392325" cy="2652821"/>
            </a:xfrm>
            <a:custGeom>
              <a:avLst/>
              <a:gdLst>
                <a:gd name="connsiteX0" fmla="*/ 292414 w 2392325"/>
                <a:gd name="connsiteY0" fmla="*/ 0 h 2652824"/>
                <a:gd name="connsiteX1" fmla="*/ 2099911 w 2392325"/>
                <a:gd name="connsiteY1" fmla="*/ 0 h 2652824"/>
                <a:gd name="connsiteX2" fmla="*/ 2392325 w 2392325"/>
                <a:gd name="connsiteY2" fmla="*/ 292414 h 2652824"/>
                <a:gd name="connsiteX3" fmla="*/ 2392325 w 2392325"/>
                <a:gd name="connsiteY3" fmla="*/ 2360410 h 2652824"/>
                <a:gd name="connsiteX4" fmla="*/ 2099911 w 2392325"/>
                <a:gd name="connsiteY4" fmla="*/ 2652824 h 2652824"/>
                <a:gd name="connsiteX5" fmla="*/ 292414 w 2392325"/>
                <a:gd name="connsiteY5" fmla="*/ 2652824 h 2652824"/>
                <a:gd name="connsiteX6" fmla="*/ 0 w 2392325"/>
                <a:gd name="connsiteY6" fmla="*/ 2360410 h 2652824"/>
                <a:gd name="connsiteX7" fmla="*/ 0 w 2392325"/>
                <a:gd name="connsiteY7" fmla="*/ 292414 h 2652824"/>
                <a:gd name="connsiteX8" fmla="*/ 292414 w 2392325"/>
                <a:gd name="connsiteY8" fmla="*/ 0 h 2652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92325" h="2652824">
                  <a:moveTo>
                    <a:pt x="292414" y="0"/>
                  </a:moveTo>
                  <a:lnTo>
                    <a:pt x="2099911" y="0"/>
                  </a:lnTo>
                  <a:cubicBezTo>
                    <a:pt x="2261407" y="0"/>
                    <a:pt x="2392325" y="130918"/>
                    <a:pt x="2392325" y="292414"/>
                  </a:cubicBezTo>
                  <a:lnTo>
                    <a:pt x="2392325" y="2360410"/>
                  </a:lnTo>
                  <a:cubicBezTo>
                    <a:pt x="2392325" y="2521906"/>
                    <a:pt x="2261407" y="2652824"/>
                    <a:pt x="2099911" y="2652824"/>
                  </a:cubicBezTo>
                  <a:lnTo>
                    <a:pt x="292414" y="2652824"/>
                  </a:lnTo>
                  <a:cubicBezTo>
                    <a:pt x="130918" y="2652824"/>
                    <a:pt x="0" y="2521906"/>
                    <a:pt x="0" y="2360410"/>
                  </a:cubicBezTo>
                  <a:lnTo>
                    <a:pt x="0" y="292414"/>
                  </a:lnTo>
                  <a:cubicBezTo>
                    <a:pt x="0" y="130918"/>
                    <a:pt x="130918" y="0"/>
                    <a:pt x="292414" y="0"/>
                  </a:cubicBezTo>
                  <a:close/>
                </a:path>
              </a:pathLst>
            </a:cu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A5D7B7B3-319B-655C-892A-6C6B7256C62D}"/>
                </a:ext>
              </a:extLst>
            </p:cNvPr>
            <p:cNvSpPr txBox="1"/>
            <p:nvPr/>
          </p:nvSpPr>
          <p:spPr>
            <a:xfrm>
              <a:off x="9456326" y="1790333"/>
              <a:ext cx="1793925" cy="40667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effectLst>
                    <a:outerShdw blurRad="372323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Maven Pro Black" panose="020B0604020202020204" charset="0"/>
                  <a:cs typeface="Maven Pro Black" panose="020B0604020202020204" charset="0"/>
                </a:rPr>
                <a:t>METAVERSE</a:t>
              </a:r>
              <a:endParaRPr lang="en-US" sz="1600" dirty="0">
                <a:solidFill>
                  <a:schemeClr val="bg1"/>
                </a:solidFill>
                <a:effectLst>
                  <a:outerShdw blurRad="372323" dist="38100" dir="2700000" algn="tl" rotWithShape="0">
                    <a:prstClr val="black">
                      <a:alpha val="40000"/>
                    </a:prstClr>
                  </a:outerShdw>
                </a:effectLst>
                <a:latin typeface="Maven Pro Black" panose="020B0604020202020204" charset="0"/>
                <a:cs typeface="Maven Pro Black" panose="020B0604020202020204" charset="0"/>
              </a:endParaRPr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6511F7F6-7FE8-52E2-675B-34597B741753}"/>
              </a:ext>
            </a:extLst>
          </p:cNvPr>
          <p:cNvSpPr txBox="1"/>
          <p:nvPr/>
        </p:nvSpPr>
        <p:spPr>
          <a:xfrm>
            <a:off x="7897640" y="2307405"/>
            <a:ext cx="1629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Social Media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585151F-9120-7C85-3C27-60566608B43D}"/>
              </a:ext>
            </a:extLst>
          </p:cNvPr>
          <p:cNvSpPr txBox="1"/>
          <p:nvPr/>
        </p:nvSpPr>
        <p:spPr>
          <a:xfrm>
            <a:off x="909958" y="1929509"/>
            <a:ext cx="1629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err="1"/>
              <a:t>Corporativos</a:t>
            </a:r>
            <a:endParaRPr lang="en-US" b="1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3B6C73D-1D0A-DCD2-E86C-813ED22F1AA9}"/>
              </a:ext>
            </a:extLst>
          </p:cNvPr>
          <p:cNvSpPr txBox="1"/>
          <p:nvPr/>
        </p:nvSpPr>
        <p:spPr>
          <a:xfrm>
            <a:off x="2835868" y="2423516"/>
            <a:ext cx="1629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Video </a:t>
            </a:r>
            <a:r>
              <a:rPr lang="en-US" b="1" dirty="0" err="1"/>
              <a:t>Juegos</a:t>
            </a:r>
            <a:endParaRPr lang="en-US" b="1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F6CDC5B-4C57-7220-2A84-108BCA4575D7}"/>
              </a:ext>
            </a:extLst>
          </p:cNvPr>
          <p:cNvSpPr txBox="1"/>
          <p:nvPr/>
        </p:nvSpPr>
        <p:spPr>
          <a:xfrm>
            <a:off x="5378807" y="4109360"/>
            <a:ext cx="1629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Live Streaming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BC9376E-31FB-8A94-519D-DA25407BA246}"/>
              </a:ext>
            </a:extLst>
          </p:cNvPr>
          <p:cNvSpPr txBox="1"/>
          <p:nvPr/>
        </p:nvSpPr>
        <p:spPr>
          <a:xfrm>
            <a:off x="8404051" y="2936065"/>
            <a:ext cx="1629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Cloud</a:t>
            </a:r>
          </a:p>
        </p:txBody>
      </p:sp>
      <p:pic>
        <p:nvPicPr>
          <p:cNvPr id="24" name="Picture 23" descr="A red letter on a black background&#10;&#10;Description automatically generated">
            <a:extLst>
              <a:ext uri="{FF2B5EF4-FFF2-40B4-BE49-F238E27FC236}">
                <a16:creationId xmlns:a16="http://schemas.microsoft.com/office/drawing/2014/main" id="{F680756C-ACCF-5FA4-0213-03C6C63CD9F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5039" y="2188725"/>
            <a:ext cx="1488422" cy="1488422"/>
          </a:xfrm>
          <a:prstGeom prst="rect">
            <a:avLst/>
          </a:prstGeom>
        </p:spPr>
      </p:pic>
      <p:pic>
        <p:nvPicPr>
          <p:cNvPr id="28" name="Picture 27" descr="A purple circle with a white symbol&#10;&#10;Description automatically generated">
            <a:extLst>
              <a:ext uri="{FF2B5EF4-FFF2-40B4-BE49-F238E27FC236}">
                <a16:creationId xmlns:a16="http://schemas.microsoft.com/office/drawing/2014/main" id="{42C67A14-8196-91BA-E897-7FD64AB479B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0709477" y="4734309"/>
            <a:ext cx="994217" cy="994217"/>
          </a:xfrm>
          <a:prstGeom prst="rect">
            <a:avLst/>
          </a:prstGeom>
        </p:spPr>
      </p:pic>
      <p:pic>
        <p:nvPicPr>
          <p:cNvPr id="32" name="Picture 31" descr="A blue logo on a black background&#10;&#10;Description automatically generated">
            <a:extLst>
              <a:ext uri="{FF2B5EF4-FFF2-40B4-BE49-F238E27FC236}">
                <a16:creationId xmlns:a16="http://schemas.microsoft.com/office/drawing/2014/main" id="{C95D3BFE-0CA1-FC2D-A02C-8F83B445F27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0679" y="4903586"/>
            <a:ext cx="1237130" cy="1237130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B08BC8ED-B404-2C3E-45EC-22B61947E08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923050" y="974712"/>
            <a:ext cx="1391163" cy="927442"/>
          </a:xfrm>
          <a:prstGeom prst="rect">
            <a:avLst/>
          </a:prstGeom>
        </p:spPr>
      </p:pic>
      <p:pic>
        <p:nvPicPr>
          <p:cNvPr id="38" name="Picture 37" descr="A colorful letter g&#10;&#10;Description automatically generated">
            <a:extLst>
              <a:ext uri="{FF2B5EF4-FFF2-40B4-BE49-F238E27FC236}">
                <a16:creationId xmlns:a16="http://schemas.microsoft.com/office/drawing/2014/main" id="{F15FF86B-DE3A-DCFA-B4D2-4F382AB50E0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9999" y="5469442"/>
            <a:ext cx="1021831" cy="1045674"/>
          </a:xfrm>
          <a:prstGeom prst="rect">
            <a:avLst/>
          </a:prstGeom>
        </p:spPr>
      </p:pic>
      <p:pic>
        <p:nvPicPr>
          <p:cNvPr id="40" name="Picture 39" descr="A black apple with a bite mark&#10;&#10;Description automatically generated">
            <a:extLst>
              <a:ext uri="{FF2B5EF4-FFF2-40B4-BE49-F238E27FC236}">
                <a16:creationId xmlns:a16="http://schemas.microsoft.com/office/drawing/2014/main" id="{E32A281C-C5EB-55F4-1D59-E084BF1ABF50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2738" y="4040030"/>
            <a:ext cx="1388558" cy="1388558"/>
          </a:xfrm>
          <a:prstGeom prst="rect">
            <a:avLst/>
          </a:prstGeom>
        </p:spPr>
      </p:pic>
      <p:grpSp>
        <p:nvGrpSpPr>
          <p:cNvPr id="41" name="Group 40">
            <a:extLst>
              <a:ext uri="{FF2B5EF4-FFF2-40B4-BE49-F238E27FC236}">
                <a16:creationId xmlns:a16="http://schemas.microsoft.com/office/drawing/2014/main" id="{F3A16848-448F-8971-64C5-57EDC984ECD5}"/>
              </a:ext>
            </a:extLst>
          </p:cNvPr>
          <p:cNvGrpSpPr/>
          <p:nvPr/>
        </p:nvGrpSpPr>
        <p:grpSpPr>
          <a:xfrm>
            <a:off x="1426082" y="2666836"/>
            <a:ext cx="905455" cy="779897"/>
            <a:chOff x="1555941" y="1923786"/>
            <a:chExt cx="778902" cy="777512"/>
          </a:xfrm>
        </p:grpSpPr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1580D0B9-B665-AF40-5F54-E4DF348FADCA}"/>
                </a:ext>
              </a:extLst>
            </p:cNvPr>
            <p:cNvCxnSpPr>
              <a:cxnSpLocks/>
            </p:cNvCxnSpPr>
            <p:nvPr/>
          </p:nvCxnSpPr>
          <p:spPr>
            <a:xfrm>
              <a:off x="1621433" y="2246187"/>
              <a:ext cx="297672" cy="55648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3" name="X BOX">
              <a:extLst>
                <a:ext uri="{FF2B5EF4-FFF2-40B4-BE49-F238E27FC236}">
                  <a16:creationId xmlns:a16="http://schemas.microsoft.com/office/drawing/2014/main" id="{2A611EA2-0A3D-AD39-29B3-189369CDFBE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rcRect/>
            <a:stretch/>
          </p:blipFill>
          <p:spPr bwMode="auto">
            <a:xfrm>
              <a:off x="1555941" y="2175108"/>
              <a:ext cx="138028" cy="1367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9283FCDD-8022-D0E4-44ED-02058CDE160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710415" y="2399696"/>
              <a:ext cx="196640" cy="194098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8" name="X BOX">
              <a:extLst>
                <a:ext uri="{FF2B5EF4-FFF2-40B4-BE49-F238E27FC236}">
                  <a16:creationId xmlns:a16="http://schemas.microsoft.com/office/drawing/2014/main" id="{8F63BD7A-2B0D-4A46-C137-C3765871DBC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rcRect/>
            <a:stretch/>
          </p:blipFill>
          <p:spPr bwMode="auto">
            <a:xfrm>
              <a:off x="1617151" y="2503074"/>
              <a:ext cx="186526" cy="1847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4A3E1804-6741-E889-9EE7-1BEC7465553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026933" y="2067879"/>
              <a:ext cx="170573" cy="19067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0" name="X BOX">
              <a:extLst>
                <a:ext uri="{FF2B5EF4-FFF2-40B4-BE49-F238E27FC236}">
                  <a16:creationId xmlns:a16="http://schemas.microsoft.com/office/drawing/2014/main" id="{5C65D73F-A65B-3AE0-C8B6-3A335044076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rcRect/>
            <a:stretch/>
          </p:blipFill>
          <p:spPr bwMode="auto">
            <a:xfrm>
              <a:off x="2139759" y="1923786"/>
              <a:ext cx="195084" cy="1932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45FDDF43-29ED-FD14-BF4E-0A2DBF145CB2}"/>
                </a:ext>
              </a:extLst>
            </p:cNvPr>
            <p:cNvCxnSpPr>
              <a:cxnSpLocks/>
            </p:cNvCxnSpPr>
            <p:nvPr/>
          </p:nvCxnSpPr>
          <p:spPr>
            <a:xfrm>
              <a:off x="2064818" y="2424810"/>
              <a:ext cx="167409" cy="183198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5" name="X BOX">
              <a:extLst>
                <a:ext uri="{FF2B5EF4-FFF2-40B4-BE49-F238E27FC236}">
                  <a16:creationId xmlns:a16="http://schemas.microsoft.com/office/drawing/2014/main" id="{35ABC70B-E7D3-5CF6-511F-A10DD353B1F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rcRect/>
            <a:stretch/>
          </p:blipFill>
          <p:spPr bwMode="auto">
            <a:xfrm>
              <a:off x="1801797" y="2137228"/>
              <a:ext cx="397988" cy="3942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6" name="X BOX">
              <a:extLst>
                <a:ext uri="{FF2B5EF4-FFF2-40B4-BE49-F238E27FC236}">
                  <a16:creationId xmlns:a16="http://schemas.microsoft.com/office/drawing/2014/main" id="{749BD72A-EFC3-4BC3-CA4E-76C9511009B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rcRect/>
            <a:stretch/>
          </p:blipFill>
          <p:spPr bwMode="auto">
            <a:xfrm>
              <a:off x="2136728" y="2509824"/>
              <a:ext cx="193300" cy="1914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1856534358"/>
      </p:ext>
    </p:extLst>
  </p:cSld>
  <p:clrMapOvr>
    <a:masterClrMapping/>
  </p:clrMapOvr>
  <p:transition spd="slow">
    <p:push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7"/>
          <p:cNvSpPr txBox="1"/>
          <p:nvPr/>
        </p:nvSpPr>
        <p:spPr>
          <a:xfrm>
            <a:off x="633743" y="528365"/>
            <a:ext cx="3223034" cy="599096"/>
          </a:xfrm>
          <a:prstGeom prst="rect">
            <a:avLst/>
          </a:prstGeom>
        </p:spPr>
        <p:txBody>
          <a:bodyPr vert="horz" wrap="square" lIns="0" tIns="8086" rIns="0" bIns="0" rtlCol="0" anchor="t">
            <a:spAutoFit/>
          </a:bodyPr>
          <a:lstStyle/>
          <a:p>
            <a:pPr marL="7620" defTabSz="554492">
              <a:lnSpc>
                <a:spcPct val="80000"/>
              </a:lnSpc>
              <a:spcBef>
                <a:spcPts val="64"/>
              </a:spcBef>
              <a:defRPr/>
            </a:pPr>
            <a:r>
              <a:rPr lang="es-CO" sz="4800" b="1" kern="0" dirty="0" err="1">
                <a:solidFill>
                  <a:schemeClr val="bg1"/>
                </a:solidFill>
                <a:latin typeface="Maven Pro Medium"/>
                <a:cs typeface="Calibri" panose="020F0502020204030204" pitchFamily="34" charset="0"/>
              </a:rPr>
              <a:t>Educacion</a:t>
            </a:r>
            <a:endParaRPr lang="es-CO" sz="4800" b="1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aven Pro ExtraBold" pitchFamily="2" charset="77"/>
              <a:cs typeface="Calibri" panose="020F0502020204030204" pitchFamily="34" charset="0"/>
            </a:endParaRPr>
          </a:p>
        </p:txBody>
      </p:sp>
      <p:pic>
        <p:nvPicPr>
          <p:cNvPr id="9" name="Gráfico 10">
            <a:extLst>
              <a:ext uri="{FF2B5EF4-FFF2-40B4-BE49-F238E27FC236}">
                <a16:creationId xmlns:a16="http://schemas.microsoft.com/office/drawing/2014/main" id="{A3CDC9F9-188C-E5D4-49EC-2E6B5DCC3DA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821139" y="1237130"/>
            <a:ext cx="2078929" cy="473189"/>
          </a:xfrm>
          <a:prstGeom prst="rect">
            <a:avLst/>
          </a:prstGeom>
        </p:spPr>
      </p:pic>
      <p:pic>
        <p:nvPicPr>
          <p:cNvPr id="25" name="Picture 24" descr="Student performing experiment in science lab class with glass apparatus">
            <a:extLst>
              <a:ext uri="{FF2B5EF4-FFF2-40B4-BE49-F238E27FC236}">
                <a16:creationId xmlns:a16="http://schemas.microsoft.com/office/drawing/2014/main" id="{861C4E63-1D19-A430-4C29-3A66DAEBA23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2203" y="3052465"/>
            <a:ext cx="4516532" cy="3014845"/>
          </a:xfrm>
          <a:prstGeom prst="ellipse">
            <a:avLst/>
          </a:prstGeom>
          <a:ln w="127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29" name="Picture 28" descr="Open notebook with drawn charts">
            <a:extLst>
              <a:ext uri="{FF2B5EF4-FFF2-40B4-BE49-F238E27FC236}">
                <a16:creationId xmlns:a16="http://schemas.microsoft.com/office/drawing/2014/main" id="{2BE58027-9A40-5820-ECB8-37852E45346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828" y="1421039"/>
            <a:ext cx="3800547" cy="2787068"/>
          </a:xfrm>
          <a:prstGeom prst="ellipse">
            <a:avLst/>
          </a:prstGeom>
          <a:ln w="127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27" name="Picture 26" descr="Child hands on a globe">
            <a:extLst>
              <a:ext uri="{FF2B5EF4-FFF2-40B4-BE49-F238E27FC236}">
                <a16:creationId xmlns:a16="http://schemas.microsoft.com/office/drawing/2014/main" id="{9AB4FA2E-775C-D123-DC74-EC44A242A89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6415" y="1127461"/>
            <a:ext cx="4523372" cy="3014845"/>
          </a:xfrm>
          <a:prstGeom prst="ellipse">
            <a:avLst/>
          </a:prstGeom>
          <a:ln w="127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35" name="Picture 34" descr="Stethoscope and clipboard on a table">
            <a:extLst>
              <a:ext uri="{FF2B5EF4-FFF2-40B4-BE49-F238E27FC236}">
                <a16:creationId xmlns:a16="http://schemas.microsoft.com/office/drawing/2014/main" id="{F7D5D505-B5F0-6914-6D19-2C74AE3511B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3478" y="3346043"/>
            <a:ext cx="4181146" cy="2790718"/>
          </a:xfrm>
          <a:prstGeom prst="ellipse">
            <a:avLst/>
          </a:prstGeom>
          <a:ln w="127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87149411"/>
      </p:ext>
    </p:extLst>
  </p:cSld>
  <p:clrMapOvr>
    <a:masterClrMapping/>
  </p:clrMapOvr>
  <p:transition spd="slow">
    <p:push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7"/>
          <p:cNvSpPr txBox="1"/>
          <p:nvPr/>
        </p:nvSpPr>
        <p:spPr>
          <a:xfrm>
            <a:off x="633742" y="528365"/>
            <a:ext cx="6083929" cy="599096"/>
          </a:xfrm>
          <a:prstGeom prst="rect">
            <a:avLst/>
          </a:prstGeom>
        </p:spPr>
        <p:txBody>
          <a:bodyPr vert="horz" wrap="square" lIns="0" tIns="8086" rIns="0" bIns="0" rtlCol="0" anchor="t">
            <a:spAutoFit/>
          </a:bodyPr>
          <a:lstStyle/>
          <a:p>
            <a:pPr marL="7620" defTabSz="554492">
              <a:lnSpc>
                <a:spcPct val="80000"/>
              </a:lnSpc>
              <a:spcBef>
                <a:spcPts val="64"/>
              </a:spcBef>
              <a:defRPr/>
            </a:pPr>
            <a:r>
              <a:rPr lang="es-CO" sz="4800" b="1" kern="0" dirty="0">
                <a:solidFill>
                  <a:schemeClr val="bg1"/>
                </a:solidFill>
                <a:latin typeface="Maven Pro Medium"/>
                <a:cs typeface="Calibri" panose="020F0502020204030204" pitchFamily="34" charset="0"/>
              </a:rPr>
              <a:t>2020 </a:t>
            </a:r>
            <a:endParaRPr lang="es-CO" sz="4800" b="1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aven Pro ExtraBold" pitchFamily="2" charset="77"/>
              <a:cs typeface="Calibri" panose="020F0502020204030204" pitchFamily="34" charset="0"/>
            </a:endParaRPr>
          </a:p>
        </p:txBody>
      </p:sp>
      <p:pic>
        <p:nvPicPr>
          <p:cNvPr id="9" name="Gráfico 10">
            <a:extLst>
              <a:ext uri="{FF2B5EF4-FFF2-40B4-BE49-F238E27FC236}">
                <a16:creationId xmlns:a16="http://schemas.microsoft.com/office/drawing/2014/main" id="{A3CDC9F9-188C-E5D4-49EC-2E6B5DCC3DA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821139" y="1237130"/>
            <a:ext cx="2078929" cy="473189"/>
          </a:xfrm>
          <a:prstGeom prst="rect">
            <a:avLst/>
          </a:prstGeom>
        </p:spPr>
      </p:pic>
      <p:pic>
        <p:nvPicPr>
          <p:cNvPr id="2050" name="Picture 2" descr="Covid-19 - The Community Health Center of Lubbock">
            <a:extLst>
              <a:ext uri="{FF2B5EF4-FFF2-40B4-BE49-F238E27FC236}">
                <a16:creationId xmlns:a16="http://schemas.microsoft.com/office/drawing/2014/main" id="{75386BD2-75D3-DF89-67F6-39726165B6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1945" y="733483"/>
            <a:ext cx="3491536" cy="42596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AA59D142-3B29-DE7E-886D-72D081FFFA60}"/>
              </a:ext>
            </a:extLst>
          </p:cNvPr>
          <p:cNvSpPr txBox="1"/>
          <p:nvPr/>
        </p:nvSpPr>
        <p:spPr>
          <a:xfrm>
            <a:off x="2344846" y="5297704"/>
            <a:ext cx="70526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b="1" dirty="0">
                <a:solidFill>
                  <a:schemeClr val="bg1"/>
                </a:solidFill>
              </a:rPr>
              <a:t>La pandemia ha tenido impactos devastadores en el aprendizaje a nivel global y todavía experimentamos el impacto de la misma.</a:t>
            </a:r>
            <a:endParaRPr lang="en-US" b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80556468"/>
      </p:ext>
    </p:extLst>
  </p:cSld>
  <p:clrMapOvr>
    <a:masterClrMapping/>
  </p:clrMapOvr>
  <p:transition spd="slow">
    <p:push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áfico 10">
            <a:extLst>
              <a:ext uri="{FF2B5EF4-FFF2-40B4-BE49-F238E27FC236}">
                <a16:creationId xmlns:a16="http://schemas.microsoft.com/office/drawing/2014/main" id="{A3CDC9F9-188C-E5D4-49EC-2E6B5DCC3DA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821139" y="1237130"/>
            <a:ext cx="2078929" cy="473189"/>
          </a:xfrm>
          <a:prstGeom prst="rect">
            <a:avLst/>
          </a:prstGeom>
        </p:spPr>
      </p:pic>
      <p:pic>
        <p:nvPicPr>
          <p:cNvPr id="3" name="Picture 2" descr="Aerial view of housing community">
            <a:extLst>
              <a:ext uri="{FF2B5EF4-FFF2-40B4-BE49-F238E27FC236}">
                <a16:creationId xmlns:a16="http://schemas.microsoft.com/office/drawing/2014/main" id="{B7A5D2F0-F5D4-AAA2-496C-28A3EBCE658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0490" y="0"/>
            <a:ext cx="5760254" cy="3838669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5" name="Picture 4" descr="Bright colored houses">
            <a:extLst>
              <a:ext uri="{FF2B5EF4-FFF2-40B4-BE49-F238E27FC236}">
                <a16:creationId xmlns:a16="http://schemas.microsoft.com/office/drawing/2014/main" id="{00EEA034-F8C2-2C3D-7858-A3E444D1CCE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4980" y="1919334"/>
            <a:ext cx="5749422" cy="3838669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8" name="Picture 7" descr="Sea of buildings at twilight">
            <a:extLst>
              <a:ext uri="{FF2B5EF4-FFF2-40B4-BE49-F238E27FC236}">
                <a16:creationId xmlns:a16="http://schemas.microsoft.com/office/drawing/2014/main" id="{6F7151DE-18E4-F0F3-C439-5C995876B87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474" y="2701223"/>
            <a:ext cx="5750983" cy="3838669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29830702"/>
      </p:ext>
    </p:extLst>
  </p:cSld>
  <p:clrMapOvr>
    <a:masterClrMapping/>
  </p:clrMapOvr>
  <p:transition spd="slow">
    <p:push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1" descr="Patrón de fondo&#10;&#10;Descripción generada automáticamente">
            <a:extLst>
              <a:ext uri="{FF2B5EF4-FFF2-40B4-BE49-F238E27FC236}">
                <a16:creationId xmlns:a16="http://schemas.microsoft.com/office/drawing/2014/main" id="{304B2E2F-739E-B06A-E00A-11DC91E46893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7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-3039" y="0"/>
            <a:ext cx="12192856" cy="6858000"/>
          </a:xfrm>
          <a:prstGeom prst="rect">
            <a:avLst/>
          </a:prstGeom>
        </p:spPr>
      </p:pic>
      <p:sp>
        <p:nvSpPr>
          <p:cNvPr id="7" name="object 7"/>
          <p:cNvSpPr txBox="1"/>
          <p:nvPr/>
        </p:nvSpPr>
        <p:spPr>
          <a:xfrm>
            <a:off x="1448738" y="4324502"/>
            <a:ext cx="9289298" cy="500607"/>
          </a:xfrm>
          <a:prstGeom prst="rect">
            <a:avLst/>
          </a:prstGeom>
        </p:spPr>
        <p:txBody>
          <a:bodyPr vert="horz" wrap="square" lIns="0" tIns="8086" rIns="0" bIns="0" rtlCol="0" anchor="t">
            <a:spAutoFit/>
          </a:bodyPr>
          <a:lstStyle/>
          <a:p>
            <a:pPr marL="7620" marR="0" lvl="0" indent="0" algn="ctr" defTabSz="554492" rtl="0" eaLnBrk="1" fontAlgn="auto" latinLnBrk="0" hangingPunct="1">
              <a:lnSpc>
                <a:spcPct val="100000"/>
              </a:lnSpc>
              <a:spcBef>
                <a:spcPts val="6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>
                  <a:outerShdw blurRad="378752" dist="38100" dir="2700000" algn="tl" rotWithShape="0">
                    <a:srgbClr val="FF6000">
                      <a:alpha val="40000"/>
                    </a:srgbClr>
                  </a:outerShdw>
                </a:effectLst>
                <a:uLnTx/>
                <a:uFillTx/>
                <a:latin typeface="Maven Pro Black"/>
                <a:cs typeface="Inter"/>
              </a:rPr>
              <a:t>Desarrollando</a:t>
            </a: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378752" dist="38100" dir="2700000" algn="tl" rotWithShape="0">
                    <a:srgbClr val="FF6000">
                      <a:alpha val="40000"/>
                    </a:srgbClr>
                  </a:outerShdw>
                </a:effectLst>
                <a:uLnTx/>
                <a:uFillTx/>
                <a:latin typeface="Maven Pro Black"/>
                <a:cs typeface="Inter"/>
              </a:rPr>
              <a:t> </a:t>
            </a:r>
            <a:r>
              <a:rPr kumimoji="0" lang="en-US" sz="32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>
                  <a:outerShdw blurRad="378752" dist="38100" dir="2700000" algn="tl" rotWithShape="0">
                    <a:srgbClr val="FF6000">
                      <a:alpha val="40000"/>
                    </a:srgbClr>
                  </a:outerShdw>
                </a:effectLst>
                <a:uLnTx/>
                <a:uFillTx/>
                <a:latin typeface="Maven Pro Black"/>
                <a:cs typeface="Inter"/>
              </a:rPr>
              <a:t>el</a:t>
            </a: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378752" dist="38100" dir="2700000" algn="tl" rotWithShape="0">
                    <a:srgbClr val="FF6000">
                      <a:alpha val="40000"/>
                    </a:srgbClr>
                  </a:outerShdw>
                </a:effectLst>
                <a:uLnTx/>
                <a:uFillTx/>
                <a:latin typeface="Maven Pro Black"/>
                <a:cs typeface="Inter"/>
              </a:rPr>
              <a:t> </a:t>
            </a:r>
            <a:r>
              <a:rPr kumimoji="0" lang="en-US" sz="32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>
                  <a:outerShdw blurRad="378752" dist="38100" dir="2700000" algn="tl" rotWithShape="0">
                    <a:srgbClr val="FF6000">
                      <a:alpha val="40000"/>
                    </a:srgbClr>
                  </a:outerShdw>
                </a:effectLst>
                <a:uLnTx/>
                <a:uFillTx/>
                <a:latin typeface="Maven Pro Black"/>
                <a:cs typeface="Inter"/>
              </a:rPr>
              <a:t>futuro</a:t>
            </a: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378752" dist="38100" dir="2700000" algn="tl" rotWithShape="0">
                    <a:srgbClr val="FF6000">
                      <a:alpha val="40000"/>
                    </a:srgbClr>
                  </a:outerShdw>
                </a:effectLst>
                <a:uLnTx/>
                <a:uFillTx/>
                <a:latin typeface="Maven Pro Black"/>
                <a:cs typeface="Inter"/>
              </a:rPr>
              <a:t>, </a:t>
            </a:r>
            <a:r>
              <a:rPr lang="en-US" sz="3200" b="1" kern="0" dirty="0" err="1">
                <a:solidFill>
                  <a:schemeClr val="bg1"/>
                </a:solidFill>
                <a:effectLst>
                  <a:outerShdw blurRad="378752" dist="38100" dir="2700000" algn="tl" rotWithShape="0">
                    <a:srgbClr val="FF6000">
                      <a:alpha val="40000"/>
                    </a:srgbClr>
                  </a:outerShdw>
                </a:effectLst>
                <a:latin typeface="Maven Pro Black"/>
                <a:cs typeface="Inter"/>
              </a:rPr>
              <a:t>juntos</a:t>
            </a:r>
            <a:r>
              <a:rPr lang="en-US" sz="3200" b="1" kern="0" dirty="0">
                <a:solidFill>
                  <a:schemeClr val="bg1"/>
                </a:solidFill>
                <a:effectLst>
                  <a:outerShdw blurRad="378752" dist="38100" dir="2700000" algn="tl" rotWithShape="0">
                    <a:srgbClr val="FF6000">
                      <a:alpha val="40000"/>
                    </a:srgbClr>
                  </a:outerShdw>
                </a:effectLst>
                <a:latin typeface="Maven Pro Black"/>
                <a:cs typeface="Inter"/>
              </a:rPr>
              <a:t>!</a:t>
            </a:r>
            <a:endParaRPr lang="en-US" sz="32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78752" dist="38100" dir="2700000" algn="tl" rotWithShape="0">
                  <a:srgbClr val="FF6000">
                    <a:alpha val="40000"/>
                  </a:srgbClr>
                </a:outerShdw>
              </a:effectLst>
              <a:uLnTx/>
              <a:uFillTx/>
              <a:latin typeface="Maven Pro Black"/>
              <a:cs typeface="Inter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89B2E97-4161-12E2-1DFF-5D4580011147}"/>
              </a:ext>
            </a:extLst>
          </p:cNvPr>
          <p:cNvGrpSpPr/>
          <p:nvPr/>
        </p:nvGrpSpPr>
        <p:grpSpPr>
          <a:xfrm>
            <a:off x="2583623" y="2203716"/>
            <a:ext cx="7024754" cy="2024743"/>
            <a:chOff x="2583623" y="2203716"/>
            <a:chExt cx="7024754" cy="2024743"/>
          </a:xfrm>
        </p:grpSpPr>
        <p:pic>
          <p:nvPicPr>
            <p:cNvPr id="16" name="Gráfico 10">
              <a:extLst>
                <a:ext uri="{FF2B5EF4-FFF2-40B4-BE49-F238E27FC236}">
                  <a16:creationId xmlns:a16="http://schemas.microsoft.com/office/drawing/2014/main" id="{BD52EE45-A574-9E70-D287-BC76B7D48A9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583623" y="2629541"/>
              <a:ext cx="7024754" cy="1598918"/>
            </a:xfrm>
            <a:prstGeom prst="rect">
              <a:avLst/>
            </a:prstGeom>
          </p:spPr>
        </p:pic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6473A294-C305-DD3C-A3AA-FA07C68AAB3B}"/>
                </a:ext>
              </a:extLst>
            </p:cNvPr>
            <p:cNvSpPr txBox="1"/>
            <p:nvPr/>
          </p:nvSpPr>
          <p:spPr>
            <a:xfrm>
              <a:off x="5572251" y="2203716"/>
              <a:ext cx="109517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  <a:effectLst>
                    <a:outerShdw blurRad="392622" dist="38100" dir="2700000" algn="tl" rotWithShape="0">
                      <a:srgbClr val="FF6000">
                        <a:alpha val="40000"/>
                      </a:srgbClr>
                    </a:outerShdw>
                  </a:effectLst>
                  <a:latin typeface="Maven Pro Black" panose="020B0604020202020204" charset="0"/>
                </a:rPr>
                <a:t>WE A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52467879"/>
      </p:ext>
    </p:extLst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SLIDE_COUNT" val="8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2_Office Theme">
  <a:themeElements>
    <a:clrScheme name="Libery Networks">
      <a:dk1>
        <a:sysClr val="windowText" lastClr="000000"/>
      </a:dk1>
      <a:lt1>
        <a:sysClr val="window" lastClr="FFFFFF"/>
      </a:lt1>
      <a:dk2>
        <a:srgbClr val="7F7F7F"/>
      </a:dk2>
      <a:lt2>
        <a:srgbClr val="EEECE1"/>
      </a:lt2>
      <a:accent1>
        <a:srgbClr val="FF6000"/>
      </a:accent1>
      <a:accent2>
        <a:srgbClr val="FFAF00"/>
      </a:accent2>
      <a:accent3>
        <a:srgbClr val="7C3AD1"/>
      </a:accent3>
      <a:accent4>
        <a:srgbClr val="4C2C9F"/>
      </a:accent4>
      <a:accent5>
        <a:srgbClr val="4BACC6"/>
      </a:accent5>
      <a:accent6>
        <a:srgbClr val="F79646"/>
      </a:accent6>
      <a:hlink>
        <a:srgbClr val="171717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788" row="4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F3CE8AB7-940A-4879-A3E4-E1ABA0394923}">
  <we:reference id="35317f9e-2e2f-45e6-be6a-48eb13007ab8" version="1.0.0.0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6482161F032354B8EA2762F87BFED14" ma:contentTypeVersion="13" ma:contentTypeDescription="Create a new document." ma:contentTypeScope="" ma:versionID="5d45e4bf0f01b3bef2d5ce720561d8fb">
  <xsd:schema xmlns:xsd="http://www.w3.org/2001/XMLSchema" xmlns:xs="http://www.w3.org/2001/XMLSchema" xmlns:p="http://schemas.microsoft.com/office/2006/metadata/properties" xmlns:ns3="b01ce551-45d5-4b01-ad4a-d5051bfcfed7" xmlns:ns4="8c9bc87b-9013-4f11-8dcc-358c53994049" targetNamespace="http://schemas.microsoft.com/office/2006/metadata/properties" ma:root="true" ma:fieldsID="493f7f508f8f099c424b162910f6953a" ns3:_="" ns4:_="">
    <xsd:import namespace="b01ce551-45d5-4b01-ad4a-d5051bfcfed7"/>
    <xsd:import namespace="8c9bc87b-9013-4f11-8dcc-358c5399404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ObjectDetectorVersion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System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01ce551-45d5-4b01-ad4a-d5051bfcfed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_activity" ma:index="16" nillable="true" ma:displayName="_activity" ma:hidden="true" ma:internalName="_activity">
      <xsd:simpleType>
        <xsd:restriction base="dms:Note"/>
      </xsd:simpleType>
    </xsd:element>
    <xsd:element name="MediaServiceSystemTags" ma:index="20" nillable="true" ma:displayName="MediaServiceSystemTags" ma:hidden="true" ma:internalName="MediaServiceSystemTag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c9bc87b-9013-4f11-8dcc-358c53994049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9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b01ce551-45d5-4b01-ad4a-d5051bfcfed7" xsi:nil="true"/>
  </documentManagement>
</p:properties>
</file>

<file path=customXml/itemProps1.xml><?xml version="1.0" encoding="utf-8"?>
<ds:datastoreItem xmlns:ds="http://schemas.openxmlformats.org/officeDocument/2006/customXml" ds:itemID="{90053EBD-6184-41C3-8FE4-9BFFADA3F10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01ce551-45d5-4b01-ad4a-d5051bfcfed7"/>
    <ds:schemaRef ds:uri="8c9bc87b-9013-4f11-8dcc-358c5399404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E30F051-1DA3-4605-A629-F0DE537816C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CC21BFB-D39D-4C5C-A6BE-144B731F390B}">
  <ds:schemaRefs>
    <ds:schemaRef ds:uri="http://schemas.openxmlformats.org/package/2006/metadata/core-properties"/>
    <ds:schemaRef ds:uri="http://purl.org/dc/terms/"/>
    <ds:schemaRef ds:uri="http://schemas.microsoft.com/office/2006/metadata/properties"/>
    <ds:schemaRef ds:uri="http://www.w3.org/XML/1998/namespace"/>
    <ds:schemaRef ds:uri="8c9bc87b-9013-4f11-8dcc-358c53994049"/>
    <ds:schemaRef ds:uri="http://purl.org/dc/dcmitype/"/>
    <ds:schemaRef ds:uri="http://schemas.microsoft.com/office/2006/documentManagement/types"/>
    <ds:schemaRef ds:uri="http://schemas.microsoft.com/office/infopath/2007/PartnerControls"/>
    <ds:schemaRef ds:uri="b01ce551-45d5-4b01-ad4a-d5051bfcfed7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0</TotalTime>
  <Words>222</Words>
  <Application>Microsoft Office PowerPoint</Application>
  <PresentationFormat>Widescreen</PresentationFormat>
  <Paragraphs>47</Paragraphs>
  <Slides>10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0" baseType="lpstr">
      <vt:lpstr>Arial</vt:lpstr>
      <vt:lpstr>Calibri</vt:lpstr>
      <vt:lpstr>Inter</vt:lpstr>
      <vt:lpstr>Maven Pro Black</vt:lpstr>
      <vt:lpstr>Maven Pro ExtraBold</vt:lpstr>
      <vt:lpstr>Maven Pro Medium</vt:lpstr>
      <vt:lpstr>Maven Pro SemiBold</vt:lpstr>
      <vt:lpstr>Segoe UI</vt:lpstr>
      <vt:lpstr>2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ramon.muniz@libertynet.com</dc:creator>
  <cp:lastModifiedBy>Ramon Muniz</cp:lastModifiedBy>
  <cp:revision>5</cp:revision>
  <dcterms:created xsi:type="dcterms:W3CDTF">2017-05-17T04:01:44Z</dcterms:created>
  <dcterms:modified xsi:type="dcterms:W3CDTF">2023-11-13T01:12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6482161F032354B8EA2762F87BFED14</vt:lpwstr>
  </property>
  <property fmtid="{D5CDD505-2E9C-101B-9397-08002B2CF9AE}" pid="3" name="ArticulateGUID">
    <vt:lpwstr>B56438B6-3DD1-46EA-A02C-7E6F3A76BCBC</vt:lpwstr>
  </property>
  <property fmtid="{D5CDD505-2E9C-101B-9397-08002B2CF9AE}" pid="4" name="ArticulatePath">
    <vt:lpwstr>https://templetllc-my.sharepoint.com/personal/daniel_templetllc_onmicrosoft_com/Documents/Projects/CW/CW - BRANDS - CWBUSINESS/Slide Decks/06_Deliverables/CW BUSINESS - 20-21</vt:lpwstr>
  </property>
</Properties>
</file>